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26"/>
  </p:notesMasterIdLst>
  <p:sldIdLst>
    <p:sldId id="256" r:id="rId5"/>
    <p:sldId id="1512" r:id="rId6"/>
    <p:sldId id="1504" r:id="rId7"/>
    <p:sldId id="1505" r:id="rId8"/>
    <p:sldId id="1510" r:id="rId9"/>
    <p:sldId id="1506" r:id="rId10"/>
    <p:sldId id="1511" r:id="rId11"/>
    <p:sldId id="1508" r:id="rId12"/>
    <p:sldId id="1513" r:id="rId13"/>
    <p:sldId id="1509" r:id="rId14"/>
    <p:sldId id="1514" r:id="rId15"/>
    <p:sldId id="1515" r:id="rId16"/>
    <p:sldId id="1516" r:id="rId17"/>
    <p:sldId id="1421" r:id="rId18"/>
    <p:sldId id="1426" r:id="rId19"/>
    <p:sldId id="1517" r:id="rId20"/>
    <p:sldId id="1519" r:id="rId21"/>
    <p:sldId id="1520" r:id="rId22"/>
    <p:sldId id="1518" r:id="rId23"/>
    <p:sldId id="1422" r:id="rId24"/>
    <p:sldId id="1424" r:id="rId25"/>
  </p:sldIdLst>
  <p:sldSz cx="24371300" cy="13716000"/>
  <p:notesSz cx="6858000" cy="9144000"/>
  <p:custDataLst>
    <p:tags r:id="rId27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82843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7F7F7F"/>
        </a:solidFill>
        <a:effectLst/>
        <a:uFillTx/>
        <a:latin typeface="Calibri"/>
        <a:ea typeface="Calibri"/>
        <a:cs typeface="Calibri"/>
        <a:sym typeface="Calibri"/>
      </a:defRPr>
    </a:lvl1pPr>
    <a:lvl2pPr marL="0" marR="0" indent="914216" algn="l" defTabSz="182843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7F7F7F"/>
        </a:solidFill>
        <a:effectLst/>
        <a:uFillTx/>
        <a:latin typeface="Calibri"/>
        <a:ea typeface="Calibri"/>
        <a:cs typeface="Calibri"/>
        <a:sym typeface="Calibri"/>
      </a:defRPr>
    </a:lvl2pPr>
    <a:lvl3pPr marL="0" marR="0" indent="1828433" algn="l" defTabSz="182843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7F7F7F"/>
        </a:solidFill>
        <a:effectLst/>
        <a:uFillTx/>
        <a:latin typeface="Calibri"/>
        <a:ea typeface="Calibri"/>
        <a:cs typeface="Calibri"/>
        <a:sym typeface="Calibri"/>
      </a:defRPr>
    </a:lvl3pPr>
    <a:lvl4pPr marL="0" marR="0" indent="2742651" algn="l" defTabSz="182843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7F7F7F"/>
        </a:solidFill>
        <a:effectLst/>
        <a:uFillTx/>
        <a:latin typeface="Calibri"/>
        <a:ea typeface="Calibri"/>
        <a:cs typeface="Calibri"/>
        <a:sym typeface="Calibri"/>
      </a:defRPr>
    </a:lvl4pPr>
    <a:lvl5pPr marL="0" marR="0" indent="3656867" algn="l" defTabSz="182843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7F7F7F"/>
        </a:solidFill>
        <a:effectLst/>
        <a:uFillTx/>
        <a:latin typeface="Calibri"/>
        <a:ea typeface="Calibri"/>
        <a:cs typeface="Calibri"/>
        <a:sym typeface="Calibri"/>
      </a:defRPr>
    </a:lvl5pPr>
    <a:lvl6pPr marL="0" marR="0" indent="4571086" algn="l" defTabSz="182843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7F7F7F"/>
        </a:solidFill>
        <a:effectLst/>
        <a:uFillTx/>
        <a:latin typeface="Calibri"/>
        <a:ea typeface="Calibri"/>
        <a:cs typeface="Calibri"/>
        <a:sym typeface="Calibri"/>
      </a:defRPr>
    </a:lvl6pPr>
    <a:lvl7pPr marL="0" marR="0" indent="5485303" algn="l" defTabSz="182843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7F7F7F"/>
        </a:solidFill>
        <a:effectLst/>
        <a:uFillTx/>
        <a:latin typeface="Calibri"/>
        <a:ea typeface="Calibri"/>
        <a:cs typeface="Calibri"/>
        <a:sym typeface="Calibri"/>
      </a:defRPr>
    </a:lvl7pPr>
    <a:lvl8pPr marL="0" marR="0" indent="6399519" algn="l" defTabSz="182843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7F7F7F"/>
        </a:solidFill>
        <a:effectLst/>
        <a:uFillTx/>
        <a:latin typeface="Calibri"/>
        <a:ea typeface="Calibri"/>
        <a:cs typeface="Calibri"/>
        <a:sym typeface="Calibri"/>
      </a:defRPr>
    </a:lvl8pPr>
    <a:lvl9pPr marL="0" marR="0" indent="7313737" algn="l" defTabSz="182843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7F7F7F"/>
        </a:solidFill>
        <a:effectLst/>
        <a:uFillTx/>
        <a:latin typeface="Calibri"/>
        <a:ea typeface="Calibri"/>
        <a:cs typeface="Calibri"/>
        <a:sym typeface="Calibri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7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is Vásquez" initials="LV" lastIdx="4" clrIdx="0">
    <p:extLst>
      <p:ext uri="{19B8F6BF-5375-455C-9EA6-DF929625EA0E}">
        <p15:presenceInfo xmlns:p15="http://schemas.microsoft.com/office/powerpoint/2012/main" userId="S::lvasquez@millev.com::c9ecae60-235e-4cac-b54f-81989051d89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547BCE-B94A-465E-AEA3-58121DB5FF68}" v="372" dt="2022-06-20T15:23:55.035"/>
    <p1510:client id="{D0FB93DA-85BD-B62A-1A54-976F08460952}" v="1203" dt="2022-07-01T23:40:19.225"/>
    <p1510:client id="{D34302AE-00E6-4ABE-A13C-5F964AB280DE}" v="2220" dt="2022-07-01T23:06:31.632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Calibri"/>
          <a:ea typeface="Calibri"/>
          <a:cs typeface="Calibri"/>
        </a:font>
        <a:srgbClr val="7F7F7F"/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rgbClr val="CAD1F2"/>
          </a:solidFill>
        </a:fill>
      </a:tcStyle>
    </a:wholeTbl>
    <a:band2H>
      <a:tcTxStyle/>
      <a:tcStyle>
        <a:tcBdr/>
        <a:fill>
          <a:solidFill>
            <a:srgbClr val="E6E9F8"/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381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381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Calibri"/>
          <a:ea typeface="Calibri"/>
          <a:cs typeface="Calibri"/>
        </a:font>
        <a:srgbClr val="7F7F7F"/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rgbClr val="CCCCCC"/>
          </a:solidFill>
        </a:fill>
      </a:tcStyle>
    </a:wholeTbl>
    <a:band2H>
      <a:tcTxStyle/>
      <a:tcStyle>
        <a:tcBdr/>
        <a:fill>
          <a:solidFill>
            <a:srgbClr val="E7E7E7"/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381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381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Calibri"/>
          <a:ea typeface="Calibri"/>
          <a:cs typeface="Calibri"/>
        </a:font>
        <a:srgbClr val="7F7F7F"/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rgbClr val="DBDCDE"/>
          </a:solidFill>
        </a:fill>
      </a:tcStyle>
    </a:wholeTbl>
    <a:band2H>
      <a:tcTxStyle/>
      <a:tcStyle>
        <a:tcBdr/>
        <a:fill>
          <a:solidFill>
            <a:srgbClr val="EEEEEF"/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381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381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Calibri"/>
          <a:ea typeface="Calibri"/>
          <a:cs typeface="Calibri"/>
        </a:font>
        <a:srgbClr val="7F7F7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CECEC"/>
          </a:solidFill>
        </a:fill>
      </a:tcStyle>
    </a:wholeTbl>
    <a:band2H>
      <a:tcTxStyle/>
      <a:tcStyle>
        <a:tcBdr/>
        <a:fill>
          <a:solidFill>
            <a:schemeClr val="accent5">
              <a:hueOff val="-7200000"/>
              <a:satOff val="-100001"/>
            </a:schemeClr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rgbClr val="7F7F7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7F7F7F"/>
              </a:solidFill>
              <a:prstDash val="solid"/>
              <a:round/>
            </a:ln>
          </a:top>
          <a:bottom>
            <a:ln w="25400" cap="flat">
              <a:solidFill>
                <a:srgbClr val="7F7F7F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5">
              <a:hueOff val="-7200000"/>
              <a:satOff val="-100001"/>
            </a:schemeClr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7F7F7F"/>
              </a:solidFill>
              <a:prstDash val="solid"/>
              <a:round/>
            </a:ln>
          </a:top>
          <a:bottom>
            <a:ln w="25400" cap="flat">
              <a:solidFill>
                <a:srgbClr val="7F7F7F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Calibri"/>
          <a:ea typeface="Calibri"/>
          <a:cs typeface="Calibri"/>
        </a:font>
        <a:srgbClr val="7F7F7F"/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rgbClr val="D7D7D7"/>
          </a:solidFill>
        </a:fill>
      </a:tcStyle>
    </a:wholeTbl>
    <a:band2H>
      <a:tcTxStyle/>
      <a:tcStyle>
        <a:tcBdr/>
        <a:fill>
          <a:solidFill>
            <a:srgbClr val="ECECEC"/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rgbClr val="7F7F7F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381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rgbClr val="7F7F7F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chemeClr val="accent5">
          <a:hueOff val="-7200000"/>
          <a:satOff val="-100001"/>
        </a:schemeClr>
      </a:tcTxStyle>
      <a:tcStyle>
        <a:tcBdr>
          <a:lef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top>
          <a:bottom>
            <a:ln w="381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5">
                  <a:hueOff val="-7200000"/>
                  <a:satOff val="-100001"/>
                </a:schemeClr>
              </a:solidFill>
              <a:prstDash val="solid"/>
              <a:round/>
            </a:ln>
          </a:insideV>
        </a:tcBdr>
        <a:fill>
          <a:solidFill>
            <a:srgbClr val="7F7F7F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Calibri"/>
          <a:ea typeface="Calibri"/>
          <a:cs typeface="Calibri"/>
        </a:font>
        <a:srgbClr val="7F7F7F"/>
      </a:tcTxStyle>
      <a:tcStyle>
        <a:tcBdr>
          <a:left>
            <a:ln w="12700" cap="flat">
              <a:solidFill>
                <a:srgbClr val="7F7F7F"/>
              </a:solidFill>
              <a:prstDash val="solid"/>
              <a:round/>
            </a:ln>
          </a:left>
          <a:right>
            <a:ln w="12700" cap="flat">
              <a:solidFill>
                <a:srgbClr val="7F7F7F"/>
              </a:solidFill>
              <a:prstDash val="solid"/>
              <a:round/>
            </a:ln>
          </a:right>
          <a:top>
            <a:ln w="12700" cap="flat">
              <a:solidFill>
                <a:srgbClr val="7F7F7F"/>
              </a:solidFill>
              <a:prstDash val="solid"/>
              <a:round/>
            </a:ln>
          </a:top>
          <a:bottom>
            <a:ln w="12700" cap="flat">
              <a:solidFill>
                <a:srgbClr val="7F7F7F"/>
              </a:solidFill>
              <a:prstDash val="solid"/>
              <a:round/>
            </a:ln>
          </a:bottom>
          <a:insideH>
            <a:ln w="12700" cap="flat">
              <a:solidFill>
                <a:srgbClr val="7F7F7F"/>
              </a:solidFill>
              <a:prstDash val="solid"/>
              <a:round/>
            </a:ln>
          </a:insideH>
          <a:insideV>
            <a:ln w="12700" cap="flat">
              <a:solidFill>
                <a:srgbClr val="7F7F7F"/>
              </a:solidFill>
              <a:prstDash val="solid"/>
              <a:round/>
            </a:ln>
          </a:insideV>
        </a:tcBdr>
        <a:fill>
          <a:solidFill>
            <a:srgbClr val="7F7F7F">
              <a:alpha val="20000"/>
            </a:srgbClr>
          </a:solidFill>
        </a:fill>
      </a:tcStyle>
    </a:wholeTbl>
    <a:band2H>
      <a:tcTxStyle/>
      <a:tcStyle>
        <a:tcBdr/>
        <a:fill>
          <a:solidFill>
            <a:schemeClr val="accent5">
              <a:hueOff val="-7200000"/>
              <a:satOff val="-100001"/>
            </a:schemeClr>
          </a:solidFill>
        </a:fill>
      </a:tcStyle>
    </a:band2H>
    <a:firstCol>
      <a:tcTxStyle b="on" i="off">
        <a:font>
          <a:latin typeface="Calibri"/>
          <a:ea typeface="Calibri"/>
          <a:cs typeface="Calibri"/>
        </a:font>
        <a:srgbClr val="7F7F7F"/>
      </a:tcTxStyle>
      <a:tcStyle>
        <a:tcBdr>
          <a:left>
            <a:ln w="12700" cap="flat">
              <a:solidFill>
                <a:srgbClr val="7F7F7F"/>
              </a:solidFill>
              <a:prstDash val="solid"/>
              <a:round/>
            </a:ln>
          </a:left>
          <a:right>
            <a:ln w="12700" cap="flat">
              <a:solidFill>
                <a:srgbClr val="7F7F7F"/>
              </a:solidFill>
              <a:prstDash val="solid"/>
              <a:round/>
            </a:ln>
          </a:right>
          <a:top>
            <a:ln w="12700" cap="flat">
              <a:solidFill>
                <a:srgbClr val="7F7F7F"/>
              </a:solidFill>
              <a:prstDash val="solid"/>
              <a:round/>
            </a:ln>
          </a:top>
          <a:bottom>
            <a:ln w="12700" cap="flat">
              <a:solidFill>
                <a:srgbClr val="7F7F7F"/>
              </a:solidFill>
              <a:prstDash val="solid"/>
              <a:round/>
            </a:ln>
          </a:bottom>
          <a:insideH>
            <a:ln w="12700" cap="flat">
              <a:solidFill>
                <a:srgbClr val="7F7F7F"/>
              </a:solidFill>
              <a:prstDash val="solid"/>
              <a:round/>
            </a:ln>
          </a:insideH>
          <a:insideV>
            <a:ln w="12700" cap="flat">
              <a:solidFill>
                <a:srgbClr val="7F7F7F"/>
              </a:solidFill>
              <a:prstDash val="solid"/>
              <a:round/>
            </a:ln>
          </a:insideV>
        </a:tcBdr>
        <a:fill>
          <a:solidFill>
            <a:srgbClr val="7F7F7F">
              <a:alpha val="20000"/>
            </a:srgbClr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rgbClr val="7F7F7F"/>
      </a:tcTxStyle>
      <a:tcStyle>
        <a:tcBdr>
          <a:left>
            <a:ln w="12700" cap="flat">
              <a:solidFill>
                <a:srgbClr val="7F7F7F"/>
              </a:solidFill>
              <a:prstDash val="solid"/>
              <a:round/>
            </a:ln>
          </a:left>
          <a:right>
            <a:ln w="12700" cap="flat">
              <a:solidFill>
                <a:srgbClr val="7F7F7F"/>
              </a:solidFill>
              <a:prstDash val="solid"/>
              <a:round/>
            </a:ln>
          </a:right>
          <a:top>
            <a:ln w="50800" cap="flat">
              <a:solidFill>
                <a:srgbClr val="7F7F7F"/>
              </a:solidFill>
              <a:prstDash val="solid"/>
              <a:round/>
            </a:ln>
          </a:top>
          <a:bottom>
            <a:ln w="12700" cap="flat">
              <a:solidFill>
                <a:srgbClr val="7F7F7F"/>
              </a:solidFill>
              <a:prstDash val="solid"/>
              <a:round/>
            </a:ln>
          </a:bottom>
          <a:insideH>
            <a:ln w="12700" cap="flat">
              <a:solidFill>
                <a:srgbClr val="7F7F7F"/>
              </a:solidFill>
              <a:prstDash val="solid"/>
              <a:round/>
            </a:ln>
          </a:insideH>
          <a:insideV>
            <a:ln w="12700" cap="flat">
              <a:solidFill>
                <a:srgbClr val="7F7F7F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>
          <a:latin typeface="Calibri"/>
          <a:ea typeface="Calibri"/>
          <a:cs typeface="Calibri"/>
        </a:font>
        <a:srgbClr val="7F7F7F"/>
      </a:tcTxStyle>
      <a:tcStyle>
        <a:tcBdr>
          <a:left>
            <a:ln w="12700" cap="flat">
              <a:solidFill>
                <a:srgbClr val="7F7F7F"/>
              </a:solidFill>
              <a:prstDash val="solid"/>
              <a:round/>
            </a:ln>
          </a:left>
          <a:right>
            <a:ln w="12700" cap="flat">
              <a:solidFill>
                <a:srgbClr val="7F7F7F"/>
              </a:solidFill>
              <a:prstDash val="solid"/>
              <a:round/>
            </a:ln>
          </a:right>
          <a:top>
            <a:ln w="12700" cap="flat">
              <a:solidFill>
                <a:srgbClr val="7F7F7F"/>
              </a:solidFill>
              <a:prstDash val="solid"/>
              <a:round/>
            </a:ln>
          </a:top>
          <a:bottom>
            <a:ln w="25400" cap="flat">
              <a:solidFill>
                <a:srgbClr val="7F7F7F"/>
              </a:solidFill>
              <a:prstDash val="solid"/>
              <a:round/>
            </a:ln>
          </a:bottom>
          <a:insideH>
            <a:ln w="12700" cap="flat">
              <a:solidFill>
                <a:srgbClr val="7F7F7F"/>
              </a:solidFill>
              <a:prstDash val="solid"/>
              <a:round/>
            </a:ln>
          </a:insideH>
          <a:insideV>
            <a:ln w="12700" cap="flat">
              <a:solidFill>
                <a:srgbClr val="7F7F7F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napToObjects="1">
      <p:cViewPr varScale="1">
        <p:scale>
          <a:sx n="56" d="100"/>
          <a:sy n="56" d="100"/>
        </p:scale>
        <p:origin x="594" y="48"/>
      </p:cViewPr>
      <p:guideLst>
        <p:guide orient="horz" pos="4320"/>
        <p:guide pos="767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is Ancel Vasquez Villavicencio" userId="S::lvasquez@millev.com::088386d8-6ca8-4bc7-91a8-766fe5529c13" providerId="AD" clId="Web-{D0FB93DA-85BD-B62A-1A54-976F08460952}"/>
    <pc:docChg chg="addSld modSld sldOrd">
      <pc:chgData name="Luis Ancel Vasquez Villavicencio" userId="S::lvasquez@millev.com::088386d8-6ca8-4bc7-91a8-766fe5529c13" providerId="AD" clId="Web-{D0FB93DA-85BD-B62A-1A54-976F08460952}" dt="2022-07-01T23:40:17.194" v="1527"/>
      <pc:docMkLst>
        <pc:docMk/>
      </pc:docMkLst>
      <pc:sldChg chg="addSp delSp modSp">
        <pc:chgData name="Luis Ancel Vasquez Villavicencio" userId="S::lvasquez@millev.com::088386d8-6ca8-4bc7-91a8-766fe5529c13" providerId="AD" clId="Web-{D0FB93DA-85BD-B62A-1A54-976F08460952}" dt="2022-07-01T23:40:17.194" v="1527"/>
        <pc:sldMkLst>
          <pc:docMk/>
          <pc:sldMk cId="3498644198" sldId="1519"/>
        </pc:sldMkLst>
        <pc:spChg chg="add del">
          <ac:chgData name="Luis Ancel Vasquez Villavicencio" userId="S::lvasquez@millev.com::088386d8-6ca8-4bc7-91a8-766fe5529c13" providerId="AD" clId="Web-{D0FB93DA-85BD-B62A-1A54-976F08460952}" dt="2022-07-01T23:13:11.585" v="191"/>
          <ac:spMkLst>
            <pc:docMk/>
            <pc:sldMk cId="3498644198" sldId="1519"/>
            <ac:spMk id="3" creationId="{1CD5388E-1222-B65C-F253-C5AE1ABB2460}"/>
          </ac:spMkLst>
        </pc:spChg>
        <pc:spChg chg="mod">
          <ac:chgData name="Luis Ancel Vasquez Villavicencio" userId="S::lvasquez@millev.com::088386d8-6ca8-4bc7-91a8-766fe5529c13" providerId="AD" clId="Web-{D0FB93DA-85BD-B62A-1A54-976F08460952}" dt="2022-07-01T23:07:22.947" v="0" actId="20577"/>
          <ac:spMkLst>
            <pc:docMk/>
            <pc:sldMk cId="3498644198" sldId="1519"/>
            <ac:spMk id="6" creationId="{00000000-0000-0000-0000-000000000000}"/>
          </ac:spMkLst>
        </pc:spChg>
        <pc:spChg chg="mod">
          <ac:chgData name="Luis Ancel Vasquez Villavicencio" userId="S::lvasquez@millev.com::088386d8-6ca8-4bc7-91a8-766fe5529c13" providerId="AD" clId="Web-{D0FB93DA-85BD-B62A-1A54-976F08460952}" dt="2022-07-01T23:10:46.471" v="181" actId="1076"/>
          <ac:spMkLst>
            <pc:docMk/>
            <pc:sldMk cId="3498644198" sldId="1519"/>
            <ac:spMk id="53" creationId="{3D18D06B-21B3-4AAE-AA77-7E64193D91C6}"/>
          </ac:spMkLst>
        </pc:spChg>
        <pc:spChg chg="mod">
          <ac:chgData name="Luis Ancel Vasquez Villavicencio" userId="S::lvasquez@millev.com::088386d8-6ca8-4bc7-91a8-766fe5529c13" providerId="AD" clId="Web-{D0FB93DA-85BD-B62A-1A54-976F08460952}" dt="2022-07-01T23:10:35.487" v="179"/>
          <ac:spMkLst>
            <pc:docMk/>
            <pc:sldMk cId="3498644198" sldId="1519"/>
            <ac:spMk id="65" creationId="{6A4674A4-5550-4488-AD28-6179DB25EB35}"/>
          </ac:spMkLst>
        </pc:spChg>
        <pc:spChg chg="del mod">
          <ac:chgData name="Luis Ancel Vasquez Villavicencio" userId="S::lvasquez@millev.com::088386d8-6ca8-4bc7-91a8-766fe5529c13" providerId="AD" clId="Web-{D0FB93DA-85BD-B62A-1A54-976F08460952}" dt="2022-07-01T23:11:55.349" v="188"/>
          <ac:spMkLst>
            <pc:docMk/>
            <pc:sldMk cId="3498644198" sldId="1519"/>
            <ac:spMk id="70" creationId="{971ECBCB-1408-4F1C-9860-984D6B0B9DFA}"/>
          </ac:spMkLst>
        </pc:spChg>
        <pc:spChg chg="mod">
          <ac:chgData name="Luis Ancel Vasquez Villavicencio" userId="S::lvasquez@millev.com::088386d8-6ca8-4bc7-91a8-766fe5529c13" providerId="AD" clId="Web-{D0FB93DA-85BD-B62A-1A54-976F08460952}" dt="2022-07-01T23:11:30.395" v="184"/>
          <ac:spMkLst>
            <pc:docMk/>
            <pc:sldMk cId="3498644198" sldId="1519"/>
            <ac:spMk id="71" creationId="{FC153056-2DDA-4D2B-95BC-C5B6E2CAD4B9}"/>
          </ac:spMkLst>
        </pc:spChg>
        <pc:spChg chg="mod">
          <ac:chgData name="Luis Ancel Vasquez Villavicencio" userId="S::lvasquez@millev.com::088386d8-6ca8-4bc7-91a8-766fe5529c13" providerId="AD" clId="Web-{D0FB93DA-85BD-B62A-1A54-976F08460952}" dt="2022-07-01T23:12:22.990" v="190"/>
          <ac:spMkLst>
            <pc:docMk/>
            <pc:sldMk cId="3498644198" sldId="1519"/>
            <ac:spMk id="77" creationId="{E1D81480-0239-4665-8475-1A1D975D58ED}"/>
          </ac:spMkLst>
        </pc:spChg>
        <pc:grpChg chg="mod">
          <ac:chgData name="Luis Ancel Vasquez Villavicencio" userId="S::lvasquez@millev.com::088386d8-6ca8-4bc7-91a8-766fe5529c13" providerId="AD" clId="Web-{D0FB93DA-85BD-B62A-1A54-976F08460952}" dt="2022-07-01T23:10:10.220" v="174" actId="1076"/>
          <ac:grpSpMkLst>
            <pc:docMk/>
            <pc:sldMk cId="3498644198" sldId="1519"/>
            <ac:grpSpMk id="72" creationId="{BF61AC5A-7A0E-4BD5-AE22-6403918872EA}"/>
          </ac:grpSpMkLst>
        </pc:grpChg>
        <pc:grpChg chg="mod">
          <ac:chgData name="Luis Ancel Vasquez Villavicencio" userId="S::lvasquez@millev.com::088386d8-6ca8-4bc7-91a8-766fe5529c13" providerId="AD" clId="Web-{D0FB93DA-85BD-B62A-1A54-976F08460952}" dt="2022-07-01T23:10:16.424" v="176" actId="1076"/>
          <ac:grpSpMkLst>
            <pc:docMk/>
            <pc:sldMk cId="3498644198" sldId="1519"/>
            <ac:grpSpMk id="78" creationId="{6FDD689B-4778-43CB-9B9C-863CC4F1CA25}"/>
          </ac:grpSpMkLst>
        </pc:grpChg>
        <pc:graphicFrameChg chg="mod modGraphic">
          <ac:chgData name="Luis Ancel Vasquez Villavicencio" userId="S::lvasquez@millev.com::088386d8-6ca8-4bc7-91a8-766fe5529c13" providerId="AD" clId="Web-{D0FB93DA-85BD-B62A-1A54-976F08460952}" dt="2022-07-01T23:40:17.194" v="1527"/>
          <ac:graphicFrameMkLst>
            <pc:docMk/>
            <pc:sldMk cId="3498644198" sldId="1519"/>
            <ac:graphicFrameMk id="19" creationId="{00000000-0000-0000-0000-000000000000}"/>
          </ac:graphicFrameMkLst>
        </pc:graphicFrameChg>
        <pc:picChg chg="add mod">
          <ac:chgData name="Luis Ancel Vasquez Villavicencio" userId="S::lvasquez@millev.com::088386d8-6ca8-4bc7-91a8-766fe5529c13" providerId="AD" clId="Web-{D0FB93DA-85BD-B62A-1A54-976F08460952}" dt="2022-07-01T23:17:24.578" v="621" actId="1076"/>
          <ac:picMkLst>
            <pc:docMk/>
            <pc:sldMk cId="3498644198" sldId="1519"/>
            <ac:picMk id="4" creationId="{27B073B7-A2FC-BF94-B323-FDF0A7EA816A}"/>
          </ac:picMkLst>
        </pc:picChg>
      </pc:sldChg>
      <pc:sldChg chg="addSp delSp modSp new ord">
        <pc:chgData name="Luis Ancel Vasquez Villavicencio" userId="S::lvasquez@millev.com::088386d8-6ca8-4bc7-91a8-766fe5529c13" providerId="AD" clId="Web-{D0FB93DA-85BD-B62A-1A54-976F08460952}" dt="2022-07-01T23:38:58.347" v="1363" actId="1076"/>
        <pc:sldMkLst>
          <pc:docMk/>
          <pc:sldMk cId="309859855" sldId="1520"/>
        </pc:sldMkLst>
        <pc:spChg chg="del">
          <ac:chgData name="Luis Ancel Vasquez Villavicencio" userId="S::lvasquez@millev.com::088386d8-6ca8-4bc7-91a8-766fe5529c13" providerId="AD" clId="Web-{D0FB93DA-85BD-B62A-1A54-976F08460952}" dt="2022-07-01T23:19:07.894" v="836"/>
          <ac:spMkLst>
            <pc:docMk/>
            <pc:sldMk cId="309859855" sldId="1520"/>
            <ac:spMk id="2" creationId="{4FD5E8D0-060B-698E-DDB8-1AD8E2F154EF}"/>
          </ac:spMkLst>
        </pc:spChg>
        <pc:spChg chg="del">
          <ac:chgData name="Luis Ancel Vasquez Villavicencio" userId="S::lvasquez@millev.com::088386d8-6ca8-4bc7-91a8-766fe5529c13" providerId="AD" clId="Web-{D0FB93DA-85BD-B62A-1A54-976F08460952}" dt="2022-07-01T23:19:08.878" v="837"/>
          <ac:spMkLst>
            <pc:docMk/>
            <pc:sldMk cId="309859855" sldId="1520"/>
            <ac:spMk id="3" creationId="{FE9CF395-063E-86E5-9D3B-201439DFB532}"/>
          </ac:spMkLst>
        </pc:spChg>
        <pc:spChg chg="add del mod">
          <ac:chgData name="Luis Ancel Vasquez Villavicencio" userId="S::lvasquez@millev.com::088386d8-6ca8-4bc7-91a8-766fe5529c13" providerId="AD" clId="Web-{D0FB93DA-85BD-B62A-1A54-976F08460952}" dt="2022-07-01T23:24:27.107" v="1034"/>
          <ac:spMkLst>
            <pc:docMk/>
            <pc:sldMk cId="309859855" sldId="1520"/>
            <ac:spMk id="2112" creationId="{5CC8E6F6-E1FB-BD0B-784A-0331E781E351}"/>
          </ac:spMkLst>
        </pc:spChg>
        <pc:spChg chg="add del">
          <ac:chgData name="Luis Ancel Vasquez Villavicencio" userId="S::lvasquez@millev.com::088386d8-6ca8-4bc7-91a8-766fe5529c13" providerId="AD" clId="Web-{D0FB93DA-85BD-B62A-1A54-976F08460952}" dt="2022-07-01T23:24:27.951" v="1035"/>
          <ac:spMkLst>
            <pc:docMk/>
            <pc:sldMk cId="309859855" sldId="1520"/>
            <ac:spMk id="2113" creationId="{EE41BA23-DB90-4CAF-5CF0-E79B0E3BC182}"/>
          </ac:spMkLst>
        </pc:spChg>
        <pc:spChg chg="add del mod">
          <ac:chgData name="Luis Ancel Vasquez Villavicencio" userId="S::lvasquez@millev.com::088386d8-6ca8-4bc7-91a8-766fe5529c13" providerId="AD" clId="Web-{D0FB93DA-85BD-B62A-1A54-976F08460952}" dt="2022-07-01T23:26:34.002" v="1096"/>
          <ac:spMkLst>
            <pc:docMk/>
            <pc:sldMk cId="309859855" sldId="1520"/>
            <ac:spMk id="2641" creationId="{B4F06FF7-4D08-D26E-AF8F-EB69C8DCAE54}"/>
          </ac:spMkLst>
        </pc:spChg>
        <pc:spChg chg="add del mod">
          <ac:chgData name="Luis Ancel Vasquez Villavicencio" userId="S::lvasquez@millev.com::088386d8-6ca8-4bc7-91a8-766fe5529c13" providerId="AD" clId="Web-{D0FB93DA-85BD-B62A-1A54-976F08460952}" dt="2022-07-01T23:26:50.721" v="1100"/>
          <ac:spMkLst>
            <pc:docMk/>
            <pc:sldMk cId="309859855" sldId="1520"/>
            <ac:spMk id="2642" creationId="{0F3B3D65-0AE5-FC6B-3B7A-EEEAB2869C83}"/>
          </ac:spMkLst>
        </pc:spChg>
        <pc:spChg chg="add mod">
          <ac:chgData name="Luis Ancel Vasquez Villavicencio" userId="S::lvasquez@millev.com::088386d8-6ca8-4bc7-91a8-766fe5529c13" providerId="AD" clId="Web-{D0FB93DA-85BD-B62A-1A54-976F08460952}" dt="2022-07-01T23:36:20.552" v="1300" actId="1076"/>
          <ac:spMkLst>
            <pc:docMk/>
            <pc:sldMk cId="309859855" sldId="1520"/>
            <ac:spMk id="2643" creationId="{DC3FB910-6795-46D8-E3CD-670C4859B14B}"/>
          </ac:spMkLst>
        </pc:spChg>
        <pc:spChg chg="add del mod ord">
          <ac:chgData name="Luis Ancel Vasquez Villavicencio" userId="S::lvasquez@millev.com::088386d8-6ca8-4bc7-91a8-766fe5529c13" providerId="AD" clId="Web-{D0FB93DA-85BD-B62A-1A54-976F08460952}" dt="2022-07-01T23:31:57.496" v="1231"/>
          <ac:spMkLst>
            <pc:docMk/>
            <pc:sldMk cId="309859855" sldId="1520"/>
            <ac:spMk id="3773" creationId="{3DD3C4D7-58E4-9596-DD10-68D78C609029}"/>
          </ac:spMkLst>
        </pc:spChg>
        <pc:spChg chg="add mod">
          <ac:chgData name="Luis Ancel Vasquez Villavicencio" userId="S::lvasquez@millev.com::088386d8-6ca8-4bc7-91a8-766fe5529c13" providerId="AD" clId="Web-{D0FB93DA-85BD-B62A-1A54-976F08460952}" dt="2022-07-01T23:36:20.630" v="1301" actId="1076"/>
          <ac:spMkLst>
            <pc:docMk/>
            <pc:sldMk cId="309859855" sldId="1520"/>
            <ac:spMk id="4700" creationId="{2F3B7B66-A9E7-D3A1-B41B-ADBD1C9AA910}"/>
          </ac:spMkLst>
        </pc:spChg>
        <pc:spChg chg="add del">
          <ac:chgData name="Luis Ancel Vasquez Villavicencio" userId="S::lvasquez@millev.com::088386d8-6ca8-4bc7-91a8-766fe5529c13" providerId="AD" clId="Web-{D0FB93DA-85BD-B62A-1A54-976F08460952}" dt="2022-07-01T23:36:51.756" v="1304"/>
          <ac:spMkLst>
            <pc:docMk/>
            <pc:sldMk cId="309859855" sldId="1520"/>
            <ac:spMk id="4765" creationId="{1A1B6CD8-D04F-F9BF-B0B1-E4BE469BE241}"/>
          </ac:spMkLst>
        </pc:spChg>
        <pc:spChg chg="add del mod">
          <ac:chgData name="Luis Ancel Vasquez Villavicencio" userId="S::lvasquez@millev.com::088386d8-6ca8-4bc7-91a8-766fe5529c13" providerId="AD" clId="Web-{D0FB93DA-85BD-B62A-1A54-976F08460952}" dt="2022-07-01T23:37:11.194" v="1310"/>
          <ac:spMkLst>
            <pc:docMk/>
            <pc:sldMk cId="309859855" sldId="1520"/>
            <ac:spMk id="4819" creationId="{1E26DA0B-A916-FE0B-BC1F-39D80630AEA3}"/>
          </ac:spMkLst>
        </pc:spChg>
        <pc:spChg chg="add mod">
          <ac:chgData name="Luis Ancel Vasquez Villavicencio" userId="S::lvasquez@millev.com::088386d8-6ca8-4bc7-91a8-766fe5529c13" providerId="AD" clId="Web-{D0FB93DA-85BD-B62A-1A54-976F08460952}" dt="2022-07-01T23:38:17.471" v="1342"/>
          <ac:spMkLst>
            <pc:docMk/>
            <pc:sldMk cId="309859855" sldId="1520"/>
            <ac:spMk id="4820" creationId="{3F1E2C82-1C66-2F22-B648-3C41ABB16B3B}"/>
          </ac:spMkLst>
        </pc:spChg>
        <pc:spChg chg="add mod">
          <ac:chgData name="Luis Ancel Vasquez Villavicencio" userId="S::lvasquez@millev.com::088386d8-6ca8-4bc7-91a8-766fe5529c13" providerId="AD" clId="Web-{D0FB93DA-85BD-B62A-1A54-976F08460952}" dt="2022-07-01T23:38:58.347" v="1363" actId="1076"/>
          <ac:spMkLst>
            <pc:docMk/>
            <pc:sldMk cId="309859855" sldId="1520"/>
            <ac:spMk id="4822" creationId="{0EBB4050-DC71-C4B4-8CEA-504DD42BC8E1}"/>
          </ac:spMkLst>
        </pc:spChg>
        <pc:graphicFrameChg chg="add mod modGraphic">
          <ac:chgData name="Luis Ancel Vasquez Villavicencio" userId="S::lvasquez@millev.com::088386d8-6ca8-4bc7-91a8-766fe5529c13" providerId="AD" clId="Web-{D0FB93DA-85BD-B62A-1A54-976F08460952}" dt="2022-07-01T23:36:20.255" v="1296" actId="1076"/>
          <ac:graphicFrameMkLst>
            <pc:docMk/>
            <pc:sldMk cId="309859855" sldId="1520"/>
            <ac:graphicFrameMk id="4" creationId="{AB1080E2-352E-EAFB-B719-14321904589C}"/>
          </ac:graphicFrameMkLst>
        </pc:graphicFrameChg>
        <pc:graphicFrameChg chg="add mod modGraphic">
          <ac:chgData name="Luis Ancel Vasquez Villavicencio" userId="S::lvasquez@millev.com::088386d8-6ca8-4bc7-91a8-766fe5529c13" providerId="AD" clId="Web-{D0FB93DA-85BD-B62A-1A54-976F08460952}" dt="2022-07-01T23:36:20.317" v="1297" actId="1076"/>
          <ac:graphicFrameMkLst>
            <pc:docMk/>
            <pc:sldMk cId="309859855" sldId="1520"/>
            <ac:graphicFrameMk id="678" creationId="{A434A9D7-DB64-F831-0457-02FBD43A4A41}"/>
          </ac:graphicFrameMkLst>
        </pc:graphicFrameChg>
        <pc:graphicFrameChg chg="add del mod">
          <ac:chgData name="Luis Ancel Vasquez Villavicencio" userId="S::lvasquez@millev.com::088386d8-6ca8-4bc7-91a8-766fe5529c13" providerId="AD" clId="Web-{D0FB93DA-85BD-B62A-1A54-976F08460952}" dt="2022-07-01T23:23:15.480" v="1013"/>
          <ac:graphicFrameMkLst>
            <pc:docMk/>
            <pc:sldMk cId="309859855" sldId="1520"/>
            <ac:graphicFrameMk id="2055" creationId="{0BB6127B-296B-26EA-7F9C-C24AF7C97300}"/>
          </ac:graphicFrameMkLst>
        </pc:graphicFrameChg>
        <pc:graphicFrameChg chg="add mod modGraphic">
          <ac:chgData name="Luis Ancel Vasquez Villavicencio" userId="S::lvasquez@millev.com::088386d8-6ca8-4bc7-91a8-766fe5529c13" providerId="AD" clId="Web-{D0FB93DA-85BD-B62A-1A54-976F08460952}" dt="2022-07-01T23:36:20.380" v="1298" actId="1076"/>
          <ac:graphicFrameMkLst>
            <pc:docMk/>
            <pc:sldMk cId="309859855" sldId="1520"/>
            <ac:graphicFrameMk id="2142" creationId="{DEF8E6B8-E548-9EAD-C32C-567D6A25A591}"/>
          </ac:graphicFrameMkLst>
        </pc:graphicFrameChg>
        <pc:graphicFrameChg chg="add mod modGraphic">
          <ac:chgData name="Luis Ancel Vasquez Villavicencio" userId="S::lvasquez@millev.com::088386d8-6ca8-4bc7-91a8-766fe5529c13" providerId="AD" clId="Web-{D0FB93DA-85BD-B62A-1A54-976F08460952}" dt="2022-07-01T23:36:20.473" v="1299" actId="1076"/>
          <ac:graphicFrameMkLst>
            <pc:docMk/>
            <pc:sldMk cId="309859855" sldId="1520"/>
            <ac:graphicFrameMk id="2406" creationId="{A368DFBE-B2B2-3D8E-06A0-D2F69CB5DFA2}"/>
          </ac:graphicFrameMkLst>
        </pc:graphicFrameChg>
        <pc:graphicFrameChg chg="add mod modGraphic">
          <ac:chgData name="Luis Ancel Vasquez Villavicencio" userId="S::lvasquez@millev.com::088386d8-6ca8-4bc7-91a8-766fe5529c13" providerId="AD" clId="Web-{D0FB93DA-85BD-B62A-1A54-976F08460952}" dt="2022-07-01T23:36:20.724" v="1302" actId="1076"/>
          <ac:graphicFrameMkLst>
            <pc:docMk/>
            <pc:sldMk cId="309859855" sldId="1520"/>
            <ac:graphicFrameMk id="2838" creationId="{624C3A7D-A27F-0E7A-54F5-FD6CC9EF3189}"/>
          </ac:graphicFrameMkLst>
        </pc:graphicFrameChg>
      </pc:sldChg>
    </pc:docChg>
  </pc:docChgLst>
  <pc:docChgLst>
    <pc:chgData name="Luis Ancel Vasquez Villavicencio" userId="S::lvasquez@millev.com::088386d8-6ca8-4bc7-91a8-766fe5529c13" providerId="AD" clId="Web-{D34302AE-00E6-4ABE-A13C-5F964AB280DE}"/>
    <pc:docChg chg="addSld modSld sldOrd">
      <pc:chgData name="Luis Ancel Vasquez Villavicencio" userId="S::lvasquez@millev.com::088386d8-6ca8-4bc7-91a8-766fe5529c13" providerId="AD" clId="Web-{D34302AE-00E6-4ABE-A13C-5F964AB280DE}" dt="2022-07-01T23:06:31.632" v="2158"/>
      <pc:docMkLst>
        <pc:docMk/>
      </pc:docMkLst>
      <pc:sldChg chg="addSp delSp modSp add ord replId">
        <pc:chgData name="Luis Ancel Vasquez Villavicencio" userId="S::lvasquez@millev.com::088386d8-6ca8-4bc7-91a8-766fe5529c13" providerId="AD" clId="Web-{D34302AE-00E6-4ABE-A13C-5F964AB280DE}" dt="2022-07-01T23:06:31.632" v="2158"/>
        <pc:sldMkLst>
          <pc:docMk/>
          <pc:sldMk cId="1868891953" sldId="1517"/>
        </pc:sldMkLst>
        <pc:spChg chg="add mod">
          <ac:chgData name="Luis Ancel Vasquez Villavicencio" userId="S::lvasquez@millev.com::088386d8-6ca8-4bc7-91a8-766fe5529c13" providerId="AD" clId="Web-{D34302AE-00E6-4ABE-A13C-5F964AB280DE}" dt="2022-07-01T22:48:23.501" v="1114" actId="1076"/>
          <ac:spMkLst>
            <pc:docMk/>
            <pc:sldMk cId="1868891953" sldId="1517"/>
            <ac:spMk id="4" creationId="{D81DA023-2DB9-CC56-2EFF-78D750C1F3F0}"/>
          </ac:spMkLst>
        </pc:spChg>
        <pc:spChg chg="mod">
          <ac:chgData name="Luis Ancel Vasquez Villavicencio" userId="S::lvasquez@millev.com::088386d8-6ca8-4bc7-91a8-766fe5529c13" providerId="AD" clId="Web-{D34302AE-00E6-4ABE-A13C-5F964AB280DE}" dt="2022-07-01T22:34:02.749" v="4" actId="20577"/>
          <ac:spMkLst>
            <pc:docMk/>
            <pc:sldMk cId="1868891953" sldId="1517"/>
            <ac:spMk id="6" creationId="{00000000-0000-0000-0000-000000000000}"/>
          </ac:spMkLst>
        </pc:spChg>
        <pc:spChg chg="add mod">
          <ac:chgData name="Luis Ancel Vasquez Villavicencio" userId="S::lvasquez@millev.com::088386d8-6ca8-4bc7-91a8-766fe5529c13" providerId="AD" clId="Web-{D34302AE-00E6-4ABE-A13C-5F964AB280DE}" dt="2022-07-01T22:49:13.674" v="1124" actId="1076"/>
          <ac:spMkLst>
            <pc:docMk/>
            <pc:sldMk cId="1868891953" sldId="1517"/>
            <ac:spMk id="8" creationId="{FDBFE5C2-FB6D-0978-53DE-E9DCC4A27CB1}"/>
          </ac:spMkLst>
        </pc:spChg>
        <pc:spChg chg="mod">
          <ac:chgData name="Luis Ancel Vasquez Villavicencio" userId="S::lvasquez@millev.com::088386d8-6ca8-4bc7-91a8-766fe5529c13" providerId="AD" clId="Web-{D34302AE-00E6-4ABE-A13C-5F964AB280DE}" dt="2022-07-01T22:48:46.079" v="1116" actId="20577"/>
          <ac:spMkLst>
            <pc:docMk/>
            <pc:sldMk cId="1868891953" sldId="1517"/>
            <ac:spMk id="61" creationId="{835212FA-72AF-4628-A3C8-A4A5043ACBBC}"/>
          </ac:spMkLst>
        </pc:spChg>
        <pc:spChg chg="mod">
          <ac:chgData name="Luis Ancel Vasquez Villavicencio" userId="S::lvasquez@millev.com::088386d8-6ca8-4bc7-91a8-766fe5529c13" providerId="AD" clId="Web-{D34302AE-00E6-4ABE-A13C-5F964AB280DE}" dt="2022-07-01T22:48:51.392" v="1120"/>
          <ac:spMkLst>
            <pc:docMk/>
            <pc:sldMk cId="1868891953" sldId="1517"/>
            <ac:spMk id="63" creationId="{B6352982-8F23-4A49-8E18-9ADB623A2201}"/>
          </ac:spMkLst>
        </pc:spChg>
        <pc:spChg chg="mod">
          <ac:chgData name="Luis Ancel Vasquez Villavicencio" userId="S::lvasquez@millev.com::088386d8-6ca8-4bc7-91a8-766fe5529c13" providerId="AD" clId="Web-{D34302AE-00E6-4ABE-A13C-5F964AB280DE}" dt="2022-07-01T22:48:46.158" v="1118" actId="20577"/>
          <ac:spMkLst>
            <pc:docMk/>
            <pc:sldMk cId="1868891953" sldId="1517"/>
            <ac:spMk id="64" creationId="{2BA78DBE-A114-4104-A52F-F7166CD86E34}"/>
          </ac:spMkLst>
        </pc:spChg>
        <pc:spChg chg="mod">
          <ac:chgData name="Luis Ancel Vasquez Villavicencio" userId="S::lvasquez@millev.com::088386d8-6ca8-4bc7-91a8-766fe5529c13" providerId="AD" clId="Web-{D34302AE-00E6-4ABE-A13C-5F964AB280DE}" dt="2022-07-01T22:49:01.705" v="1122" actId="1076"/>
          <ac:spMkLst>
            <pc:docMk/>
            <pc:sldMk cId="1868891953" sldId="1517"/>
            <ac:spMk id="65" creationId="{6A4674A4-5550-4488-AD28-6179DB25EB35}"/>
          </ac:spMkLst>
        </pc:spChg>
        <pc:spChg chg="mod">
          <ac:chgData name="Luis Ancel Vasquez Villavicencio" userId="S::lvasquez@millev.com::088386d8-6ca8-4bc7-91a8-766fe5529c13" providerId="AD" clId="Web-{D34302AE-00E6-4ABE-A13C-5F964AB280DE}" dt="2022-07-01T22:47:41.796" v="1111"/>
          <ac:spMkLst>
            <pc:docMk/>
            <pc:sldMk cId="1868891953" sldId="1517"/>
            <ac:spMk id="69" creationId="{C3DF79A0-7284-4ED0-9236-3221F214787A}"/>
          </ac:spMkLst>
        </pc:spChg>
        <pc:spChg chg="del">
          <ac:chgData name="Luis Ancel Vasquez Villavicencio" userId="S::lvasquez@millev.com::088386d8-6ca8-4bc7-91a8-766fe5529c13" providerId="AD" clId="Web-{D34302AE-00E6-4ABE-A13C-5F964AB280DE}" dt="2022-07-01T22:48:15.110" v="1112"/>
          <ac:spMkLst>
            <pc:docMk/>
            <pc:sldMk cId="1868891953" sldId="1517"/>
            <ac:spMk id="70" creationId="{971ECBCB-1408-4F1C-9860-984D6B0B9DFA}"/>
          </ac:spMkLst>
        </pc:spChg>
        <pc:spChg chg="del topLvl">
          <ac:chgData name="Luis Ancel Vasquez Villavicencio" userId="S::lvasquez@millev.com::088386d8-6ca8-4bc7-91a8-766fe5529c13" providerId="AD" clId="Web-{D34302AE-00E6-4ABE-A13C-5F964AB280DE}" dt="2022-07-01T22:39:44.389" v="426"/>
          <ac:spMkLst>
            <pc:docMk/>
            <pc:sldMk cId="1868891953" sldId="1517"/>
            <ac:spMk id="73" creationId="{182C1425-3C1E-47D1-926E-9D23300C83CB}"/>
          </ac:spMkLst>
        </pc:spChg>
        <pc:grpChg chg="mod">
          <ac:chgData name="Luis Ancel Vasquez Villavicencio" userId="S::lvasquez@millev.com::088386d8-6ca8-4bc7-91a8-766fe5529c13" providerId="AD" clId="Web-{D34302AE-00E6-4ABE-A13C-5F964AB280DE}" dt="2022-07-01T22:48:31.016" v="1115" actId="1076"/>
          <ac:grpSpMkLst>
            <pc:docMk/>
            <pc:sldMk cId="1868891953" sldId="1517"/>
            <ac:grpSpMk id="60" creationId="{C600B4F8-6243-4708-9A7A-DA76B2037B20}"/>
          </ac:grpSpMkLst>
        </pc:grpChg>
        <pc:grpChg chg="mod">
          <ac:chgData name="Luis Ancel Vasquez Villavicencio" userId="S::lvasquez@millev.com::088386d8-6ca8-4bc7-91a8-766fe5529c13" providerId="AD" clId="Web-{D34302AE-00E6-4ABE-A13C-5F964AB280DE}" dt="2022-07-01T22:47:32.389" v="1109" actId="1076"/>
          <ac:grpSpMkLst>
            <pc:docMk/>
            <pc:sldMk cId="1868891953" sldId="1517"/>
            <ac:grpSpMk id="66" creationId="{5BE00E0D-D416-445E-A3EF-4A90000FDC6E}"/>
          </ac:grpSpMkLst>
        </pc:grpChg>
        <pc:grpChg chg="del">
          <ac:chgData name="Luis Ancel Vasquez Villavicencio" userId="S::lvasquez@millev.com::088386d8-6ca8-4bc7-91a8-766fe5529c13" providerId="AD" clId="Web-{D34302AE-00E6-4ABE-A13C-5F964AB280DE}" dt="2022-07-01T22:39:44.389" v="426"/>
          <ac:grpSpMkLst>
            <pc:docMk/>
            <pc:sldMk cId="1868891953" sldId="1517"/>
            <ac:grpSpMk id="72" creationId="{BF61AC5A-7A0E-4BD5-AE22-6403918872EA}"/>
          </ac:grpSpMkLst>
        </pc:grpChg>
        <pc:grpChg chg="del topLvl">
          <ac:chgData name="Luis Ancel Vasquez Villavicencio" userId="S::lvasquez@millev.com::088386d8-6ca8-4bc7-91a8-766fe5529c13" providerId="AD" clId="Web-{D34302AE-00E6-4ABE-A13C-5F964AB280DE}" dt="2022-07-01T22:39:46.343" v="428"/>
          <ac:grpSpMkLst>
            <pc:docMk/>
            <pc:sldMk cId="1868891953" sldId="1517"/>
            <ac:grpSpMk id="74" creationId="{22C7C3AB-3E79-43C0-BE88-129D6350BCEE}"/>
          </ac:grpSpMkLst>
        </pc:grpChg>
        <pc:grpChg chg="del">
          <ac:chgData name="Luis Ancel Vasquez Villavicencio" userId="S::lvasquez@millev.com::088386d8-6ca8-4bc7-91a8-766fe5529c13" providerId="AD" clId="Web-{D34302AE-00E6-4ABE-A13C-5F964AB280DE}" dt="2022-07-01T22:39:45.593" v="427"/>
          <ac:grpSpMkLst>
            <pc:docMk/>
            <pc:sldMk cId="1868891953" sldId="1517"/>
            <ac:grpSpMk id="78" creationId="{6FDD689B-4778-43CB-9B9C-863CC4F1CA25}"/>
          </ac:grpSpMkLst>
        </pc:grpChg>
        <pc:graphicFrameChg chg="mod modGraphic">
          <ac:chgData name="Luis Ancel Vasquez Villavicencio" userId="S::lvasquez@millev.com::088386d8-6ca8-4bc7-91a8-766fe5529c13" providerId="AD" clId="Web-{D34302AE-00E6-4ABE-A13C-5F964AB280DE}" dt="2022-07-01T22:52:59.072" v="1545"/>
          <ac:graphicFrameMkLst>
            <pc:docMk/>
            <pc:sldMk cId="1868891953" sldId="1517"/>
            <ac:graphicFrameMk id="19" creationId="{00000000-0000-0000-0000-000000000000}"/>
          </ac:graphicFrameMkLst>
        </pc:graphicFrameChg>
      </pc:sldChg>
      <pc:sldChg chg="addSp delSp modSp add replId">
        <pc:chgData name="Luis Ancel Vasquez Villavicencio" userId="S::lvasquez@millev.com::088386d8-6ca8-4bc7-91a8-766fe5529c13" providerId="AD" clId="Web-{D34302AE-00E6-4ABE-A13C-5F964AB280DE}" dt="2022-07-01T23:06:19.569" v="2156"/>
        <pc:sldMkLst>
          <pc:docMk/>
          <pc:sldMk cId="2826136952" sldId="1518"/>
        </pc:sldMkLst>
        <pc:spChg chg="add del">
          <ac:chgData name="Luis Ancel Vasquez Villavicencio" userId="S::lvasquez@millev.com::088386d8-6ca8-4bc7-91a8-766fe5529c13" providerId="AD" clId="Web-{D34302AE-00E6-4ABE-A13C-5F964AB280DE}" dt="2022-07-01T23:01:46.529" v="1971"/>
          <ac:spMkLst>
            <pc:docMk/>
            <pc:sldMk cId="2826136952" sldId="1518"/>
            <ac:spMk id="3" creationId="{1F1FFE5D-A2EC-B0F5-A9C0-4B241E029DF8}"/>
          </ac:spMkLst>
        </pc:spChg>
        <pc:spChg chg="mod">
          <ac:chgData name="Luis Ancel Vasquez Villavicencio" userId="S::lvasquez@millev.com::088386d8-6ca8-4bc7-91a8-766fe5529c13" providerId="AD" clId="Web-{D34302AE-00E6-4ABE-A13C-5F964AB280DE}" dt="2022-07-01T22:54:23.358" v="1559" actId="20577"/>
          <ac:spMkLst>
            <pc:docMk/>
            <pc:sldMk cId="2826136952" sldId="1518"/>
            <ac:spMk id="6" creationId="{00000000-0000-0000-0000-000000000000}"/>
          </ac:spMkLst>
        </pc:spChg>
        <pc:spChg chg="add del mod">
          <ac:chgData name="Luis Ancel Vasquez Villavicencio" userId="S::lvasquez@millev.com::088386d8-6ca8-4bc7-91a8-766fe5529c13" providerId="AD" clId="Web-{D34302AE-00E6-4ABE-A13C-5F964AB280DE}" dt="2022-07-01T23:01:44.888" v="1970"/>
          <ac:spMkLst>
            <pc:docMk/>
            <pc:sldMk cId="2826136952" sldId="1518"/>
            <ac:spMk id="7" creationId="{C412EEFD-DFDE-D562-FAB8-7840F7B2BF2F}"/>
          </ac:spMkLst>
        </pc:spChg>
        <pc:graphicFrameChg chg="add del mod modGraphic">
          <ac:chgData name="Luis Ancel Vasquez Villavicencio" userId="S::lvasquez@millev.com::088386d8-6ca8-4bc7-91a8-766fe5529c13" providerId="AD" clId="Web-{D34302AE-00E6-4ABE-A13C-5F964AB280DE}" dt="2022-07-01T23:00:00.025" v="1850"/>
          <ac:graphicFrameMkLst>
            <pc:docMk/>
            <pc:sldMk cId="2826136952" sldId="1518"/>
            <ac:graphicFrameMk id="9" creationId="{1241123F-AA0A-8FE1-F97B-FD8F08B3F810}"/>
          </ac:graphicFrameMkLst>
        </pc:graphicFrameChg>
        <pc:graphicFrameChg chg="add mod modGraphic">
          <ac:chgData name="Luis Ancel Vasquez Villavicencio" userId="S::lvasquez@millev.com::088386d8-6ca8-4bc7-91a8-766fe5529c13" providerId="AD" clId="Web-{D34302AE-00E6-4ABE-A13C-5F964AB280DE}" dt="2022-07-01T23:06:19.569" v="2156"/>
          <ac:graphicFrameMkLst>
            <pc:docMk/>
            <pc:sldMk cId="2826136952" sldId="1518"/>
            <ac:graphicFrameMk id="10" creationId="{86D66BDF-28FB-0AD9-02E3-7FD9DF927442}"/>
          </ac:graphicFrameMkLst>
        </pc:graphicFrameChg>
        <pc:graphicFrameChg chg="mod modGraphic">
          <ac:chgData name="Luis Ancel Vasquez Villavicencio" userId="S::lvasquez@millev.com::088386d8-6ca8-4bc7-91a8-766fe5529c13" providerId="AD" clId="Web-{D34302AE-00E6-4ABE-A13C-5F964AB280DE}" dt="2022-07-01T23:04:04.518" v="2050"/>
          <ac:graphicFrameMkLst>
            <pc:docMk/>
            <pc:sldMk cId="2826136952" sldId="1518"/>
            <ac:graphicFrameMk id="19" creationId="{00000000-0000-0000-0000-000000000000}"/>
          </ac:graphicFrameMkLst>
        </pc:graphicFrameChg>
      </pc:sldChg>
      <pc:sldChg chg="add replId">
        <pc:chgData name="Luis Ancel Vasquez Villavicencio" userId="S::lvasquez@millev.com::088386d8-6ca8-4bc7-91a8-766fe5529c13" providerId="AD" clId="Web-{D34302AE-00E6-4ABE-A13C-5F964AB280DE}" dt="2022-07-01T23:06:30.070" v="2157"/>
        <pc:sldMkLst>
          <pc:docMk/>
          <pc:sldMk cId="3498644198" sldId="1519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BDC5F6A9-EED0-4BBA-A953-80B17F5BCBF6}">
      <dgm:prSet phldrT="[Texto]" custT="1"/>
      <dgm:spPr/>
      <dgm:t>
        <a:bodyPr/>
        <a:lstStyle/>
        <a:p>
          <a:r>
            <a:rPr lang="es-PE" sz="1400" b="1" dirty="0"/>
            <a:t>Proyectos y Consultoría</a:t>
          </a:r>
        </a:p>
        <a:p>
          <a:r>
            <a:rPr lang="es-PE" sz="1400" b="1" dirty="0"/>
            <a:t>Carlos Vera  </a:t>
          </a:r>
        </a:p>
      </dgm:t>
    </dgm:pt>
    <dgm:pt modelId="{4782F7E2-57BE-4540-80EC-6A607EC520E6}" type="parTrans" cxnId="{87BE8155-D3B3-4E48-AE98-BBD06A045B0F}">
      <dgm:prSet/>
      <dgm:spPr/>
      <dgm:t>
        <a:bodyPr/>
        <a:lstStyle/>
        <a:p>
          <a:endParaRPr lang="es-PE" sz="1800" b="1"/>
        </a:p>
      </dgm:t>
    </dgm:pt>
    <dgm:pt modelId="{455E78A3-1736-4520-A79C-0E94B2CA6DE7}" type="sibTrans" cxnId="{87BE8155-D3B3-4E48-AE98-BBD06A045B0F}">
      <dgm:prSet/>
      <dgm:spPr/>
      <dgm:t>
        <a:bodyPr/>
        <a:lstStyle/>
        <a:p>
          <a:endParaRPr lang="es-PE" sz="1800" b="1"/>
        </a:p>
      </dgm:t>
    </dgm:pt>
    <dgm:pt modelId="{E4B4F9F4-D240-4EF9-8A3E-0060574F32FE}">
      <dgm:prSet phldrT="[Texto]" custT="1"/>
      <dgm:spPr/>
      <dgm:t>
        <a:bodyPr/>
        <a:lstStyle/>
        <a:p>
          <a:r>
            <a:rPr lang="es-PE" sz="1400" b="1" dirty="0"/>
            <a:t>DS&amp;O</a:t>
          </a:r>
        </a:p>
        <a:p>
          <a:r>
            <a:rPr lang="es-PE" sz="1400" b="1" dirty="0"/>
            <a:t>LUIS VASQUEZ</a:t>
          </a: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endParaRPr lang="es-PE" sz="1800" b="1"/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endParaRPr lang="es-PE" sz="1800" b="1"/>
        </a:p>
      </dgm:t>
    </dgm:pt>
    <dgm:pt modelId="{AE4AEB44-270D-4A4A-986A-D0C7568AB1FF}">
      <dgm:prSet phldrT="[Texto]" custT="1"/>
      <dgm:spPr/>
      <dgm:t>
        <a:bodyPr/>
        <a:lstStyle/>
        <a:p>
          <a:r>
            <a:rPr lang="es-PE" sz="1400" b="1" dirty="0"/>
            <a:t>BI &amp; </a:t>
          </a:r>
          <a:r>
            <a:rPr lang="es-PE" sz="1400" b="1" dirty="0" err="1"/>
            <a:t>Analytics</a:t>
          </a:r>
          <a:endParaRPr lang="es-PE" sz="1400" b="1" dirty="0"/>
        </a:p>
        <a:p>
          <a:r>
            <a:rPr lang="es-PE" sz="1400" b="1" dirty="0"/>
            <a:t>SILVESTRE ACOSTA</a:t>
          </a:r>
        </a:p>
      </dgm:t>
    </dgm:pt>
    <dgm:pt modelId="{CC5A209D-1098-4CF6-9C19-CDBB138D5A53}" type="parTrans" cxnId="{9907F63F-2D0E-49BA-AF99-ECD91167A4E6}">
      <dgm:prSet/>
      <dgm:spPr/>
      <dgm:t>
        <a:bodyPr/>
        <a:lstStyle/>
        <a:p>
          <a:endParaRPr lang="es-PE" sz="1800" b="1"/>
        </a:p>
      </dgm:t>
    </dgm:pt>
    <dgm:pt modelId="{E0121813-ECA7-4956-955D-CB5080D47BD4}" type="sibTrans" cxnId="{9907F63F-2D0E-49BA-AF99-ECD91167A4E6}">
      <dgm:prSet/>
      <dgm:spPr/>
      <dgm:t>
        <a:bodyPr/>
        <a:lstStyle/>
        <a:p>
          <a:endParaRPr lang="es-PE" sz="1800" b="1"/>
        </a:p>
      </dgm:t>
    </dgm:pt>
    <dgm:pt modelId="{D42CCFC8-F48A-4ED8-B845-DE2B6E08FF75}">
      <dgm:prSet phldrT="[Texto]" custT="1"/>
      <dgm:spPr/>
      <dgm:t>
        <a:bodyPr/>
        <a:lstStyle/>
        <a:p>
          <a:r>
            <a:rPr lang="es-PE" sz="1400" b="1"/>
            <a:t>Emely Ambrosio</a:t>
          </a:r>
        </a:p>
      </dgm:t>
    </dgm:pt>
    <dgm:pt modelId="{38D42633-C57A-4D70-8EAE-A8D972120E52}" type="parTrans" cxnId="{5C359D1F-27F3-4674-90FE-29C363CC3337}">
      <dgm:prSet/>
      <dgm:spPr/>
      <dgm:t>
        <a:bodyPr/>
        <a:lstStyle/>
        <a:p>
          <a:endParaRPr lang="es-PE" sz="1800" b="1"/>
        </a:p>
      </dgm:t>
    </dgm:pt>
    <dgm:pt modelId="{8B3EFE01-C5E1-4A4E-82AA-4432C046113E}" type="sibTrans" cxnId="{5C359D1F-27F3-4674-90FE-29C363CC3337}">
      <dgm:prSet/>
      <dgm:spPr/>
      <dgm:t>
        <a:bodyPr/>
        <a:lstStyle/>
        <a:p>
          <a:endParaRPr lang="es-PE" sz="1800" b="1"/>
        </a:p>
      </dgm:t>
    </dgm:pt>
    <dgm:pt modelId="{DB2F9BFA-637D-4F48-8548-CECDA742F819}">
      <dgm:prSet phldrT="[Texto]" custT="1"/>
      <dgm:spPr/>
      <dgm:t>
        <a:bodyPr/>
        <a:lstStyle/>
        <a:p>
          <a:r>
            <a:rPr lang="es-PE" sz="1400" b="1" dirty="0"/>
            <a:t>Jesus Salgado</a:t>
          </a:r>
        </a:p>
      </dgm:t>
    </dgm:pt>
    <dgm:pt modelId="{A812BC8D-DA5A-4E88-BB70-FA370E0F0C5B}" type="parTrans" cxnId="{146068E3-0008-4063-ABBE-F368BFA06008}">
      <dgm:prSet/>
      <dgm:spPr/>
      <dgm:t>
        <a:bodyPr/>
        <a:lstStyle/>
        <a:p>
          <a:endParaRPr lang="es-PE" sz="1800" b="1"/>
        </a:p>
      </dgm:t>
    </dgm:pt>
    <dgm:pt modelId="{057C72CD-26AF-4917-8EB2-76B437396A3E}" type="sibTrans" cxnId="{146068E3-0008-4063-ABBE-F368BFA06008}">
      <dgm:prSet/>
      <dgm:spPr/>
      <dgm:t>
        <a:bodyPr/>
        <a:lstStyle/>
        <a:p>
          <a:endParaRPr lang="es-PE" sz="1800" b="1"/>
        </a:p>
      </dgm:t>
    </dgm:pt>
    <dgm:pt modelId="{436966C0-1DA5-462C-A792-C39AB9A2902C}">
      <dgm:prSet phldrT="[Texto]" custT="1"/>
      <dgm:spPr/>
      <dgm:t>
        <a:bodyPr/>
        <a:lstStyle/>
        <a:p>
          <a:r>
            <a:rPr lang="es-PE" sz="1400" b="1" dirty="0"/>
            <a:t>Antonio Tolosa</a:t>
          </a:r>
        </a:p>
      </dgm:t>
    </dgm:pt>
    <dgm:pt modelId="{ED56C5B0-A8EF-4171-B1D5-E243FAD33B08}" type="parTrans" cxnId="{D87A77AC-C6FB-4D62-BC60-E629744A8A98}">
      <dgm:prSet/>
      <dgm:spPr/>
      <dgm:t>
        <a:bodyPr/>
        <a:lstStyle/>
        <a:p>
          <a:endParaRPr lang="es-PE" sz="1800" b="1"/>
        </a:p>
      </dgm:t>
    </dgm:pt>
    <dgm:pt modelId="{4AE02011-9435-49BE-B7F0-50EE2832CAF5}" type="sibTrans" cxnId="{D87A77AC-C6FB-4D62-BC60-E629744A8A98}">
      <dgm:prSet/>
      <dgm:spPr/>
      <dgm:t>
        <a:bodyPr/>
        <a:lstStyle/>
        <a:p>
          <a:endParaRPr lang="es-PE" sz="1800" b="1"/>
        </a:p>
      </dgm:t>
    </dgm:pt>
    <dgm:pt modelId="{CD9B72B4-5551-4360-B639-5D4178A91D70}">
      <dgm:prSet phldrT="[Texto]" custT="1"/>
      <dgm:spPr/>
      <dgm:t>
        <a:bodyPr/>
        <a:lstStyle/>
        <a:p>
          <a:r>
            <a:rPr lang="es-PE" sz="1400" b="1" dirty="0"/>
            <a:t>Ruben Campos</a:t>
          </a:r>
        </a:p>
      </dgm:t>
    </dgm:pt>
    <dgm:pt modelId="{DF961A74-B5F5-4B93-9FA9-DE5DA87D9BD2}" type="parTrans" cxnId="{2CDE4B8F-A7C8-46C2-89F5-770E704A1111}">
      <dgm:prSet/>
      <dgm:spPr/>
      <dgm:t>
        <a:bodyPr/>
        <a:lstStyle/>
        <a:p>
          <a:endParaRPr lang="es-PE" sz="1800" b="1"/>
        </a:p>
      </dgm:t>
    </dgm:pt>
    <dgm:pt modelId="{E688171C-6AAA-44C2-B7ED-6D8EBAFA0E2E}" type="sibTrans" cxnId="{2CDE4B8F-A7C8-46C2-89F5-770E704A1111}">
      <dgm:prSet/>
      <dgm:spPr/>
      <dgm:t>
        <a:bodyPr/>
        <a:lstStyle/>
        <a:p>
          <a:endParaRPr lang="es-PE" sz="1800" b="1"/>
        </a:p>
      </dgm:t>
    </dgm:pt>
    <dgm:pt modelId="{5F3259C2-5AB8-4CE8-AD19-157A3BE11482}">
      <dgm:prSet phldrT="[Texto]" custT="1"/>
      <dgm:spPr/>
      <dgm:t>
        <a:bodyPr/>
        <a:lstStyle/>
        <a:p>
          <a:r>
            <a:rPr lang="es-PE" sz="1400" b="1" dirty="0" err="1"/>
            <a:t>Geancarlo</a:t>
          </a:r>
          <a:r>
            <a:rPr lang="es-PE" sz="1400" b="1" dirty="0"/>
            <a:t> Silvestre</a:t>
          </a:r>
        </a:p>
      </dgm:t>
    </dgm:pt>
    <dgm:pt modelId="{32034CE2-CECF-4285-8EBB-7E744E5540F9}" type="parTrans" cxnId="{19382A99-1842-430F-9AE6-0E085447E18E}">
      <dgm:prSet/>
      <dgm:spPr/>
      <dgm:t>
        <a:bodyPr/>
        <a:lstStyle/>
        <a:p>
          <a:endParaRPr lang="es-PE" sz="1800" b="1"/>
        </a:p>
      </dgm:t>
    </dgm:pt>
    <dgm:pt modelId="{99130543-5A7A-4123-962A-F3F7266604F7}" type="sibTrans" cxnId="{19382A99-1842-430F-9AE6-0E085447E18E}">
      <dgm:prSet/>
      <dgm:spPr/>
      <dgm:t>
        <a:bodyPr/>
        <a:lstStyle/>
        <a:p>
          <a:endParaRPr lang="es-PE" sz="1800" b="1"/>
        </a:p>
      </dgm:t>
    </dgm:pt>
    <dgm:pt modelId="{B13AEDA5-081A-4B41-82EF-EE7883D62716}">
      <dgm:prSet phldrT="[Texto]" custT="1"/>
      <dgm:spPr/>
      <dgm:t>
        <a:bodyPr/>
        <a:lstStyle/>
        <a:p>
          <a:r>
            <a:rPr lang="es-PE" sz="1400" b="1" dirty="0"/>
            <a:t>Kennedy Luna</a:t>
          </a:r>
        </a:p>
      </dgm:t>
    </dgm:pt>
    <dgm:pt modelId="{93BA14B6-8766-4789-AFCE-C7843D9F6784}" type="parTrans" cxnId="{3E039B82-1FF2-4EB0-BB1B-ACDF5975B525}">
      <dgm:prSet/>
      <dgm:spPr/>
      <dgm:t>
        <a:bodyPr/>
        <a:lstStyle/>
        <a:p>
          <a:endParaRPr lang="es-PE" sz="1800" b="1"/>
        </a:p>
      </dgm:t>
    </dgm:pt>
    <dgm:pt modelId="{7A06B3A3-7C10-4FBB-8F55-AD8948F4059E}" type="sibTrans" cxnId="{3E039B82-1FF2-4EB0-BB1B-ACDF5975B525}">
      <dgm:prSet/>
      <dgm:spPr/>
      <dgm:t>
        <a:bodyPr/>
        <a:lstStyle/>
        <a:p>
          <a:endParaRPr lang="es-PE" sz="1800" b="1"/>
        </a:p>
      </dgm:t>
    </dgm:pt>
    <dgm:pt modelId="{BAD3CAEA-CF56-44D1-A383-B635FB82C9B1}">
      <dgm:prSet phldrT="[Texto]" custT="1"/>
      <dgm:spPr/>
      <dgm:t>
        <a:bodyPr/>
        <a:lstStyle/>
        <a:p>
          <a:r>
            <a:rPr lang="es-PE" sz="1400" b="1" dirty="0"/>
            <a:t>Walter Sosa</a:t>
          </a:r>
        </a:p>
      </dgm:t>
    </dgm:pt>
    <dgm:pt modelId="{4B295F66-D8B2-4E80-83B7-6EAFEC8D3D1B}" type="parTrans" cxnId="{53A3DFFE-D136-46C1-A11B-41BAA287E3B0}">
      <dgm:prSet/>
      <dgm:spPr/>
      <dgm:t>
        <a:bodyPr/>
        <a:lstStyle/>
        <a:p>
          <a:endParaRPr lang="es-PE" sz="1800" b="1"/>
        </a:p>
      </dgm:t>
    </dgm:pt>
    <dgm:pt modelId="{338B604E-5AC5-499D-9EAA-EB2F6C901E3B}" type="sibTrans" cxnId="{53A3DFFE-D136-46C1-A11B-41BAA287E3B0}">
      <dgm:prSet/>
      <dgm:spPr/>
      <dgm:t>
        <a:bodyPr/>
        <a:lstStyle/>
        <a:p>
          <a:endParaRPr lang="es-PE" sz="1800" b="1"/>
        </a:p>
      </dgm:t>
    </dgm:pt>
    <dgm:pt modelId="{5FA6B686-F16E-466C-BE3E-43ED16C6D8C6}">
      <dgm:prSet phldrT="[Texto]" custT="1"/>
      <dgm:spPr/>
      <dgm:t>
        <a:bodyPr/>
        <a:lstStyle/>
        <a:p>
          <a:r>
            <a:rPr lang="es-PE" sz="1400" b="1" dirty="0"/>
            <a:t>Daniel Vento</a:t>
          </a:r>
        </a:p>
      </dgm:t>
    </dgm:pt>
    <dgm:pt modelId="{A594F774-112B-44D2-A33E-59F8C7CE9675}" type="parTrans" cxnId="{35B586C8-ECA0-47E0-97CC-F77E89342F2D}">
      <dgm:prSet/>
      <dgm:spPr/>
      <dgm:t>
        <a:bodyPr/>
        <a:lstStyle/>
        <a:p>
          <a:endParaRPr lang="es-PE" sz="1800" b="1"/>
        </a:p>
      </dgm:t>
    </dgm:pt>
    <dgm:pt modelId="{E6ED807E-5124-4B7B-B0B7-32823F9DEE77}" type="sibTrans" cxnId="{35B586C8-ECA0-47E0-97CC-F77E89342F2D}">
      <dgm:prSet/>
      <dgm:spPr/>
      <dgm:t>
        <a:bodyPr/>
        <a:lstStyle/>
        <a:p>
          <a:endParaRPr lang="es-PE" sz="1800" b="1"/>
        </a:p>
      </dgm:t>
    </dgm:pt>
    <dgm:pt modelId="{48831D65-4DA9-4A69-B4E0-9DAB11DA54EE}">
      <dgm:prSet phldrT="[Texto]" custT="1"/>
      <dgm:spPr/>
      <dgm:t>
        <a:bodyPr/>
        <a:lstStyle/>
        <a:p>
          <a:r>
            <a:rPr lang="es-PE" sz="1400" b="1" dirty="0"/>
            <a:t>Jhonatan Espinoza</a:t>
          </a:r>
        </a:p>
      </dgm:t>
    </dgm:pt>
    <dgm:pt modelId="{1A325FAF-7852-4621-A825-D19AB6FB42BA}" type="parTrans" cxnId="{9845CD07-49DE-40A4-8FBE-04B36666B585}">
      <dgm:prSet/>
      <dgm:spPr/>
      <dgm:t>
        <a:bodyPr/>
        <a:lstStyle/>
        <a:p>
          <a:endParaRPr lang="es-PE" sz="1800" b="1"/>
        </a:p>
      </dgm:t>
    </dgm:pt>
    <dgm:pt modelId="{D05A3C05-2C64-4851-8351-A1658758E122}" type="sibTrans" cxnId="{9845CD07-49DE-40A4-8FBE-04B36666B585}">
      <dgm:prSet/>
      <dgm:spPr/>
      <dgm:t>
        <a:bodyPr/>
        <a:lstStyle/>
        <a:p>
          <a:endParaRPr lang="es-PE" sz="1800" b="1"/>
        </a:p>
      </dgm:t>
    </dgm:pt>
    <dgm:pt modelId="{D0D9162D-5DD8-44DA-985A-4D100C5CABFF}">
      <dgm:prSet phldrT="[Texto]" custT="1"/>
      <dgm:spPr/>
      <dgm:t>
        <a:bodyPr/>
        <a:lstStyle/>
        <a:p>
          <a:r>
            <a:rPr lang="es-PE" sz="1400" b="1" dirty="0"/>
            <a:t>Said</a:t>
          </a:r>
        </a:p>
      </dgm:t>
    </dgm:pt>
    <dgm:pt modelId="{A029A73B-703F-4777-8B87-9E8F1D3B3BDA}" type="parTrans" cxnId="{8798C5E5-E50F-4683-B431-4A5615D1F611}">
      <dgm:prSet/>
      <dgm:spPr/>
      <dgm:t>
        <a:bodyPr/>
        <a:lstStyle/>
        <a:p>
          <a:endParaRPr lang="es-PE" sz="1800" b="1"/>
        </a:p>
      </dgm:t>
    </dgm:pt>
    <dgm:pt modelId="{39A7C314-EE38-4613-8523-D8FE84CA5585}" type="sibTrans" cxnId="{8798C5E5-E50F-4683-B431-4A5615D1F611}">
      <dgm:prSet/>
      <dgm:spPr/>
      <dgm:t>
        <a:bodyPr/>
        <a:lstStyle/>
        <a:p>
          <a:endParaRPr lang="es-PE" sz="1800" b="1"/>
        </a:p>
      </dgm:t>
    </dgm:pt>
    <dgm:pt modelId="{B9C4C665-1F09-4978-805F-7F4AB198114A}">
      <dgm:prSet phldrT="[Texto]" custT="1"/>
      <dgm:spPr/>
      <dgm:t>
        <a:bodyPr/>
        <a:lstStyle/>
        <a:p>
          <a:r>
            <a:rPr lang="es-PE" sz="1400" b="1" dirty="0"/>
            <a:t>Educa </a:t>
          </a:r>
        </a:p>
        <a:p>
          <a:r>
            <a:rPr lang="es-PE" sz="1400" b="1" dirty="0"/>
            <a:t>(Carlos Garcia)</a:t>
          </a:r>
        </a:p>
      </dgm:t>
    </dgm:pt>
    <dgm:pt modelId="{1A8A9C50-863B-4B42-A67C-6E56A8BED035}" type="parTrans" cxnId="{08507046-CE55-465B-8E58-E17601D970D8}">
      <dgm:prSet/>
      <dgm:spPr/>
      <dgm:t>
        <a:bodyPr/>
        <a:lstStyle/>
        <a:p>
          <a:endParaRPr lang="es-PE" sz="1800" b="1"/>
        </a:p>
      </dgm:t>
    </dgm:pt>
    <dgm:pt modelId="{849C8801-D575-4E9F-A6CE-1E0B345D788F}" type="sibTrans" cxnId="{08507046-CE55-465B-8E58-E17601D970D8}">
      <dgm:prSet/>
      <dgm:spPr/>
      <dgm:t>
        <a:bodyPr/>
        <a:lstStyle/>
        <a:p>
          <a:endParaRPr lang="es-PE" sz="1800" b="1"/>
        </a:p>
      </dgm:t>
    </dgm:pt>
    <dgm:pt modelId="{27840723-E50D-4FD5-8C35-A96FB74A29C4}">
      <dgm:prSet phldrT="[Texto]" custT="1"/>
      <dgm:spPr/>
      <dgm:t>
        <a:bodyPr/>
        <a:lstStyle/>
        <a:p>
          <a:r>
            <a:rPr lang="es-PE" sz="1400" b="1" dirty="0"/>
            <a:t>Tamara Rodriguez</a:t>
          </a:r>
        </a:p>
      </dgm:t>
    </dgm:pt>
    <dgm:pt modelId="{36518DDF-EB3A-4463-9644-A390E12666B5}" type="parTrans" cxnId="{6E0E2A5C-B857-4E1D-9155-82CF1B6D71C4}">
      <dgm:prSet/>
      <dgm:spPr/>
      <dgm:t>
        <a:bodyPr/>
        <a:lstStyle/>
        <a:p>
          <a:endParaRPr lang="es-PE" sz="1800" b="1"/>
        </a:p>
      </dgm:t>
    </dgm:pt>
    <dgm:pt modelId="{80D9B351-8A3B-4794-8BF5-25ECAE832752}" type="sibTrans" cxnId="{6E0E2A5C-B857-4E1D-9155-82CF1B6D71C4}">
      <dgm:prSet/>
      <dgm:spPr/>
      <dgm:t>
        <a:bodyPr/>
        <a:lstStyle/>
        <a:p>
          <a:endParaRPr lang="es-PE" sz="1800" b="1"/>
        </a:p>
      </dgm:t>
    </dgm:pt>
    <dgm:pt modelId="{90A22878-B6E8-4635-97AA-7B6ABBA1902A}">
      <dgm:prSet phldrT="[Texto]" custT="1"/>
      <dgm:spPr/>
      <dgm:t>
        <a:bodyPr/>
        <a:lstStyle/>
        <a:p>
          <a:r>
            <a:rPr lang="es-PE" sz="1400" b="1" dirty="0" err="1"/>
            <a:t>Jordan</a:t>
          </a:r>
          <a:r>
            <a:rPr lang="es-PE" sz="1400" b="1" dirty="0"/>
            <a:t> Merino</a:t>
          </a:r>
        </a:p>
      </dgm:t>
    </dgm:pt>
    <dgm:pt modelId="{B8366983-5FBE-4CF6-8F40-EF344E0205F1}" type="parTrans" cxnId="{1404D845-D3A7-4A27-AC19-B5790510A0AB}">
      <dgm:prSet/>
      <dgm:spPr/>
      <dgm:t>
        <a:bodyPr/>
        <a:lstStyle/>
        <a:p>
          <a:endParaRPr lang="es-PE" sz="1800" b="1"/>
        </a:p>
      </dgm:t>
    </dgm:pt>
    <dgm:pt modelId="{CBA96803-E945-4979-B40F-7A142ECA9F2B}" type="sibTrans" cxnId="{1404D845-D3A7-4A27-AC19-B5790510A0AB}">
      <dgm:prSet/>
      <dgm:spPr/>
      <dgm:t>
        <a:bodyPr/>
        <a:lstStyle/>
        <a:p>
          <a:endParaRPr lang="es-PE" sz="1800" b="1"/>
        </a:p>
      </dgm:t>
    </dgm:pt>
    <dgm:pt modelId="{85A44AD6-65C3-4058-81D7-7E42B2DD0F80}">
      <dgm:prSet phldrT="[Texto]" custT="1"/>
      <dgm:spPr/>
      <dgm:t>
        <a:bodyPr/>
        <a:lstStyle/>
        <a:p>
          <a:r>
            <a:rPr lang="es-PE" sz="1400" b="1" dirty="0" err="1"/>
            <a:t>Miljanic</a:t>
          </a:r>
          <a:endParaRPr lang="es-PE" sz="1400" b="1" dirty="0"/>
        </a:p>
      </dgm:t>
    </dgm:pt>
    <dgm:pt modelId="{2A83B644-E41F-4BA9-A694-D06520373CB4}" type="parTrans" cxnId="{6BB7C1EC-20DE-44B9-B61D-DB6904B4311D}">
      <dgm:prSet/>
      <dgm:spPr/>
      <dgm:t>
        <a:bodyPr/>
        <a:lstStyle/>
        <a:p>
          <a:endParaRPr lang="es-PE" sz="1800" b="1"/>
        </a:p>
      </dgm:t>
    </dgm:pt>
    <dgm:pt modelId="{E54D5159-4558-4713-858F-89CEE75A64BD}" type="sibTrans" cxnId="{6BB7C1EC-20DE-44B9-B61D-DB6904B4311D}">
      <dgm:prSet/>
      <dgm:spPr/>
      <dgm:t>
        <a:bodyPr/>
        <a:lstStyle/>
        <a:p>
          <a:endParaRPr lang="es-PE" sz="1800" b="1"/>
        </a:p>
      </dgm:t>
    </dgm:pt>
    <dgm:pt modelId="{7AC60666-22AF-48BA-A18E-BD93B55C4E89}">
      <dgm:prSet phldrT="[Texto]" custT="1"/>
      <dgm:spPr/>
      <dgm:t>
        <a:bodyPr/>
        <a:lstStyle/>
        <a:p>
          <a:r>
            <a:rPr lang="es-PE" sz="1400" b="1" dirty="0"/>
            <a:t>Giovanni F.</a:t>
          </a:r>
        </a:p>
      </dgm:t>
    </dgm:pt>
    <dgm:pt modelId="{DD0C226F-A833-4F97-942C-64A3B2738CCE}" type="sibTrans" cxnId="{11151937-7EF6-443E-8CF0-1C3DBF9393DE}">
      <dgm:prSet/>
      <dgm:spPr/>
      <dgm:t>
        <a:bodyPr/>
        <a:lstStyle/>
        <a:p>
          <a:endParaRPr lang="es-PE" sz="1800" b="1"/>
        </a:p>
      </dgm:t>
    </dgm:pt>
    <dgm:pt modelId="{B5C7F105-394D-4F3A-AF40-9038972CC8F1}" type="parTrans" cxnId="{11151937-7EF6-443E-8CF0-1C3DBF9393DE}">
      <dgm:prSet/>
      <dgm:spPr/>
      <dgm:t>
        <a:bodyPr/>
        <a:lstStyle/>
        <a:p>
          <a:endParaRPr lang="es-PE" sz="1800" b="1"/>
        </a:p>
      </dgm:t>
    </dgm:pt>
    <dgm:pt modelId="{98685474-342B-4776-925B-4D5684551333}">
      <dgm:prSet phldrT="[Texto]" custT="1"/>
      <dgm:spPr/>
      <dgm:t>
        <a:bodyPr/>
        <a:lstStyle/>
        <a:p>
          <a:r>
            <a:rPr lang="es-PE" sz="1400" b="1" dirty="0"/>
            <a:t>Leandro Coronel</a:t>
          </a:r>
        </a:p>
      </dgm:t>
    </dgm:pt>
    <dgm:pt modelId="{1C5B7485-BE1A-44CA-8B64-16EDA3A4FA5C}" type="parTrans" cxnId="{45728956-CE79-417D-AC3F-81DA48CFCF3E}">
      <dgm:prSet/>
      <dgm:spPr/>
      <dgm:t>
        <a:bodyPr/>
        <a:lstStyle/>
        <a:p>
          <a:endParaRPr lang="es-PE" sz="1800" b="1"/>
        </a:p>
      </dgm:t>
    </dgm:pt>
    <dgm:pt modelId="{58ACF02C-C437-4EC2-A187-AFAD8EBFEE3C}" type="sibTrans" cxnId="{45728956-CE79-417D-AC3F-81DA48CFCF3E}">
      <dgm:prSet/>
      <dgm:spPr/>
      <dgm:t>
        <a:bodyPr/>
        <a:lstStyle/>
        <a:p>
          <a:endParaRPr lang="es-PE" sz="1800" b="1"/>
        </a:p>
      </dgm:t>
    </dgm:pt>
    <dgm:pt modelId="{A8104150-7D45-46F6-88C9-CB221FE9A231}">
      <dgm:prSet phldrT="[Texto]" custT="1"/>
      <dgm:spPr/>
      <dgm:t>
        <a:bodyPr/>
        <a:lstStyle/>
        <a:p>
          <a:r>
            <a:rPr lang="es-PE" sz="1400" b="1" dirty="0"/>
            <a:t>Yakori Vallejos</a:t>
          </a:r>
        </a:p>
      </dgm:t>
    </dgm:pt>
    <dgm:pt modelId="{2E71E581-ABC2-4110-8824-5F9BA3DDBA94}" type="parTrans" cxnId="{C247B0F1-0C8D-4968-8FE6-0A0F1A72F1D2}">
      <dgm:prSet/>
      <dgm:spPr/>
      <dgm:t>
        <a:bodyPr/>
        <a:lstStyle/>
        <a:p>
          <a:endParaRPr lang="es-PE" sz="1800" b="1"/>
        </a:p>
      </dgm:t>
    </dgm:pt>
    <dgm:pt modelId="{28CDD69E-3DF1-4E4E-9025-CFB173EED06A}" type="sibTrans" cxnId="{C247B0F1-0C8D-4968-8FE6-0A0F1A72F1D2}">
      <dgm:prSet/>
      <dgm:spPr/>
      <dgm:t>
        <a:bodyPr/>
        <a:lstStyle/>
        <a:p>
          <a:endParaRPr lang="es-PE" sz="1800" b="1"/>
        </a:p>
      </dgm:t>
    </dgm:pt>
    <dgm:pt modelId="{5CDFC6AB-AF9B-4F4B-8DB6-18F5619B643C}">
      <dgm:prSet phldrT="[Texto]" custT="1"/>
      <dgm:spPr/>
      <dgm:t>
        <a:bodyPr/>
        <a:lstStyle/>
        <a:p>
          <a:r>
            <a:rPr lang="es-PE" sz="1400" b="1" dirty="0"/>
            <a:t>Ariana Vasquez</a:t>
          </a:r>
        </a:p>
      </dgm:t>
    </dgm:pt>
    <dgm:pt modelId="{38F91D7F-6BCE-4D2B-8083-3983004BC263}" type="parTrans" cxnId="{6691A8EA-A7E5-4D25-B972-04916DF38602}">
      <dgm:prSet/>
      <dgm:spPr/>
      <dgm:t>
        <a:bodyPr/>
        <a:lstStyle/>
        <a:p>
          <a:endParaRPr lang="es-PE" sz="1800" b="1"/>
        </a:p>
      </dgm:t>
    </dgm:pt>
    <dgm:pt modelId="{FFB30EE4-E019-4927-8CC9-D4E9932006CB}" type="sibTrans" cxnId="{6691A8EA-A7E5-4D25-B972-04916DF38602}">
      <dgm:prSet/>
      <dgm:spPr/>
      <dgm:t>
        <a:bodyPr/>
        <a:lstStyle/>
        <a:p>
          <a:endParaRPr lang="es-PE" sz="1800" b="1"/>
        </a:p>
      </dgm:t>
    </dgm:pt>
    <dgm:pt modelId="{FFA5421F-27D0-4DFF-8F9B-265F3DEC0563}">
      <dgm:prSet phldrT="[Texto]" custT="1"/>
      <dgm:spPr/>
      <dgm:t>
        <a:bodyPr/>
        <a:lstStyle/>
        <a:p>
          <a:r>
            <a:rPr lang="es-PE" sz="1400" b="1" dirty="0"/>
            <a:t>Saidy</a:t>
          </a:r>
        </a:p>
      </dgm:t>
    </dgm:pt>
    <dgm:pt modelId="{78E7B7CD-E3AF-49F3-A289-06D2ADA2AE78}" type="parTrans" cxnId="{1CD765DD-D3CF-4574-9B1C-EBFCF23D84F2}">
      <dgm:prSet/>
      <dgm:spPr/>
      <dgm:t>
        <a:bodyPr/>
        <a:lstStyle/>
        <a:p>
          <a:endParaRPr lang="es-PE" sz="1800" b="1"/>
        </a:p>
      </dgm:t>
    </dgm:pt>
    <dgm:pt modelId="{43C03A36-7BA4-41C0-92B6-68D967BA448B}" type="sibTrans" cxnId="{1CD765DD-D3CF-4574-9B1C-EBFCF23D84F2}">
      <dgm:prSet/>
      <dgm:spPr/>
      <dgm:t>
        <a:bodyPr/>
        <a:lstStyle/>
        <a:p>
          <a:endParaRPr lang="es-PE" sz="1800" b="1"/>
        </a:p>
      </dgm:t>
    </dgm:pt>
    <dgm:pt modelId="{1061A7AF-D8D1-484E-A213-1F8EBF4F7643}">
      <dgm:prSet custT="1"/>
      <dgm:spPr/>
      <dgm:t>
        <a:bodyPr/>
        <a:lstStyle/>
        <a:p>
          <a:r>
            <a:rPr lang="en-US" sz="1600" b="1" u="none" dirty="0">
              <a:solidFill>
                <a:schemeClr val="bg1"/>
              </a:solidFill>
            </a:rPr>
            <a:t>Gestión de</a:t>
          </a:r>
        </a:p>
        <a:p>
          <a:r>
            <a:rPr lang="en-US" sz="1600" b="1" u="none" dirty="0">
              <a:solidFill>
                <a:schemeClr val="bg1"/>
              </a:solidFill>
            </a:rPr>
            <a:t> Proyectos</a:t>
          </a:r>
        </a:p>
      </dgm:t>
    </dgm:pt>
    <dgm:pt modelId="{DD689534-0215-49CE-B5E6-C9F87A06F5A0}" type="parTrans" cxnId="{C1F58855-C543-4E73-BFBD-D0F4D21F77AB}">
      <dgm:prSet/>
      <dgm:spPr/>
      <dgm:t>
        <a:bodyPr/>
        <a:lstStyle/>
        <a:p>
          <a:endParaRPr lang="es-PE"/>
        </a:p>
      </dgm:t>
    </dgm:pt>
    <dgm:pt modelId="{80D000EA-B218-40DE-9320-25519A99379E}" type="sibTrans" cxnId="{C1F58855-C543-4E73-BFBD-D0F4D21F77AB}">
      <dgm:prSet/>
      <dgm:spPr/>
      <dgm:t>
        <a:bodyPr/>
        <a:lstStyle/>
        <a:p>
          <a:endParaRPr lang="es-PE"/>
        </a:p>
      </dgm:t>
    </dgm:pt>
    <dgm:pt modelId="{E524F649-451F-421E-A0EE-633E69CFA4DD}">
      <dgm:prSet custT="1"/>
      <dgm:spPr/>
      <dgm:t>
        <a:bodyPr/>
        <a:lstStyle/>
        <a:p>
          <a:r>
            <a:rPr lang="en-US" sz="1600" b="1" u="none" dirty="0">
              <a:solidFill>
                <a:schemeClr val="bg1"/>
              </a:solidFill>
            </a:rPr>
            <a:t>Control </a:t>
          </a:r>
        </a:p>
        <a:p>
          <a:r>
            <a:rPr lang="en-US" sz="1600" b="1" u="none" dirty="0">
              <a:solidFill>
                <a:schemeClr val="bg1"/>
              </a:solidFill>
            </a:rPr>
            <a:t>de Calidad</a:t>
          </a:r>
        </a:p>
      </dgm:t>
    </dgm:pt>
    <dgm:pt modelId="{5C069735-35AB-4D26-B0ED-23AF5C4CECC8}" type="parTrans" cxnId="{DF4FBE09-1141-4F78-9662-4DD8B442A072}">
      <dgm:prSet/>
      <dgm:spPr/>
      <dgm:t>
        <a:bodyPr/>
        <a:lstStyle/>
        <a:p>
          <a:endParaRPr lang="es-PE"/>
        </a:p>
      </dgm:t>
    </dgm:pt>
    <dgm:pt modelId="{9B756C12-8DFD-46C7-9E56-216D88F694FB}" type="sibTrans" cxnId="{DF4FBE09-1141-4F78-9662-4DD8B442A072}">
      <dgm:prSet/>
      <dgm:spPr/>
      <dgm:t>
        <a:bodyPr/>
        <a:lstStyle/>
        <a:p>
          <a:endParaRPr lang="es-PE"/>
        </a:p>
      </dgm:t>
    </dgm:pt>
    <dgm:pt modelId="{C19A58EB-86F0-45EB-858F-394D828BCAF3}">
      <dgm:prSet phldrT="[Texto]" custT="1"/>
      <dgm:spPr/>
      <dgm:t>
        <a:bodyPr/>
        <a:lstStyle/>
        <a:p>
          <a:r>
            <a:rPr lang="es-PE" sz="1400" b="1" dirty="0"/>
            <a:t>Pamela Rivas</a:t>
          </a:r>
        </a:p>
      </dgm:t>
    </dgm:pt>
    <dgm:pt modelId="{AC81E237-49B8-4BC9-A64F-6FCEEA1A9167}" type="parTrans" cxnId="{173B7EA1-3A95-4315-86C5-9DC4078DD210}">
      <dgm:prSet/>
      <dgm:spPr/>
      <dgm:t>
        <a:bodyPr/>
        <a:lstStyle/>
        <a:p>
          <a:endParaRPr lang="es-PE"/>
        </a:p>
      </dgm:t>
    </dgm:pt>
    <dgm:pt modelId="{04E608F8-F4BF-4D01-AABF-08120FE7D94B}" type="sibTrans" cxnId="{173B7EA1-3A95-4315-86C5-9DC4078DD210}">
      <dgm:prSet/>
      <dgm:spPr/>
      <dgm:t>
        <a:bodyPr/>
        <a:lstStyle/>
        <a:p>
          <a:endParaRPr lang="es-PE"/>
        </a:p>
      </dgm:t>
    </dgm:pt>
    <dgm:pt modelId="{B01185A3-7992-4FF9-825D-25231ACF59CB}">
      <dgm:prSet phldrT="[Texto]" custT="1"/>
      <dgm:spPr/>
      <dgm:t>
        <a:bodyPr/>
        <a:lstStyle/>
        <a:p>
          <a:r>
            <a:rPr lang="es-PE" sz="1400" b="1" dirty="0" err="1"/>
            <a:t>Andres</a:t>
          </a:r>
          <a:r>
            <a:rPr lang="es-PE" sz="1400" b="1" dirty="0"/>
            <a:t> Morales</a:t>
          </a:r>
        </a:p>
      </dgm:t>
    </dgm:pt>
    <dgm:pt modelId="{94FA6FDE-0994-41A3-BC3E-ACD49C879BB4}" type="parTrans" cxnId="{C9E09660-A590-4ACF-BDC1-A185639222A3}">
      <dgm:prSet/>
      <dgm:spPr/>
      <dgm:t>
        <a:bodyPr/>
        <a:lstStyle/>
        <a:p>
          <a:endParaRPr lang="es-PE"/>
        </a:p>
      </dgm:t>
    </dgm:pt>
    <dgm:pt modelId="{5E7470EB-C228-466A-A132-6AF9A49CACE4}" type="sibTrans" cxnId="{C9E09660-A590-4ACF-BDC1-A185639222A3}">
      <dgm:prSet/>
      <dgm:spPr/>
      <dgm:t>
        <a:bodyPr/>
        <a:lstStyle/>
        <a:p>
          <a:endParaRPr lang="es-PE"/>
        </a:p>
      </dgm:t>
    </dgm:pt>
    <dgm:pt modelId="{D220A13B-8F1E-468F-82C7-70F47B586B66}">
      <dgm:prSet phldrT="[Texto]" custT="1"/>
      <dgm:spPr/>
      <dgm:t>
        <a:bodyPr/>
        <a:lstStyle/>
        <a:p>
          <a:r>
            <a:rPr lang="es-PE" sz="1400" b="1" dirty="0"/>
            <a:t>Funcionales</a:t>
          </a:r>
        </a:p>
      </dgm:t>
    </dgm:pt>
    <dgm:pt modelId="{C464D18D-2861-41A3-949C-1FC6F18E3B02}" type="sibTrans" cxnId="{E643E3EE-4A32-4793-BEAE-6DB4A42E56DB}">
      <dgm:prSet/>
      <dgm:spPr/>
      <dgm:t>
        <a:bodyPr/>
        <a:lstStyle/>
        <a:p>
          <a:endParaRPr lang="es-PE" sz="1800" b="1"/>
        </a:p>
      </dgm:t>
    </dgm:pt>
    <dgm:pt modelId="{C4DFA08D-1F8D-41AE-8ACE-B408E812044D}" type="parTrans" cxnId="{E643E3EE-4A32-4793-BEAE-6DB4A42E56DB}">
      <dgm:prSet/>
      <dgm:spPr/>
      <dgm:t>
        <a:bodyPr/>
        <a:lstStyle/>
        <a:p>
          <a:endParaRPr lang="es-PE" sz="1800" b="1"/>
        </a:p>
      </dgm:t>
    </dgm:pt>
    <dgm:pt modelId="{7A822263-1CA6-4B8A-9D05-C06B4361E3BF}">
      <dgm:prSet phldrT="[Texto]" custT="1"/>
      <dgm:spPr/>
      <dgm:t>
        <a:bodyPr/>
        <a:lstStyle/>
        <a:p>
          <a:r>
            <a:rPr lang="es-PE" sz="1400" b="1" dirty="0"/>
            <a:t>Jorge Vento</a:t>
          </a:r>
        </a:p>
      </dgm:t>
    </dgm:pt>
    <dgm:pt modelId="{A405F5A1-D844-4B02-86E3-338731F5988B}" type="parTrans" cxnId="{593FC268-2686-4E4F-B341-D05083646E8E}">
      <dgm:prSet/>
      <dgm:spPr/>
      <dgm:t>
        <a:bodyPr/>
        <a:lstStyle/>
        <a:p>
          <a:endParaRPr lang="es-PE"/>
        </a:p>
      </dgm:t>
    </dgm:pt>
    <dgm:pt modelId="{644227C6-EE2D-4B33-B55A-D2A42329681B}" type="sibTrans" cxnId="{593FC268-2686-4E4F-B341-D05083646E8E}">
      <dgm:prSet/>
      <dgm:spPr/>
      <dgm:t>
        <a:bodyPr/>
        <a:lstStyle/>
        <a:p>
          <a:endParaRPr lang="es-PE"/>
        </a:p>
      </dgm:t>
    </dgm:pt>
    <dgm:pt modelId="{28EBC714-E5E5-4238-BC32-9DA37C4B6470}">
      <dgm:prSet phldrT="[Texto]" custT="1"/>
      <dgm:spPr/>
      <dgm:t>
        <a:bodyPr/>
        <a:lstStyle/>
        <a:p>
          <a:r>
            <a:rPr lang="es-PE" sz="1400" b="1" dirty="0"/>
            <a:t>Ivan</a:t>
          </a:r>
        </a:p>
      </dgm:t>
    </dgm:pt>
    <dgm:pt modelId="{E37A84A8-E4B7-4F72-BCC8-E17B1C733450}" type="parTrans" cxnId="{C590D443-5EAE-469A-AA87-7D8D1E10087A}">
      <dgm:prSet/>
      <dgm:spPr/>
      <dgm:t>
        <a:bodyPr/>
        <a:lstStyle/>
        <a:p>
          <a:endParaRPr lang="es-PE"/>
        </a:p>
      </dgm:t>
    </dgm:pt>
    <dgm:pt modelId="{F6285033-12DD-40D9-AB97-DC0B57632465}" type="sibTrans" cxnId="{C590D443-5EAE-469A-AA87-7D8D1E10087A}">
      <dgm:prSet/>
      <dgm:spPr/>
      <dgm:t>
        <a:bodyPr/>
        <a:lstStyle/>
        <a:p>
          <a:endParaRPr lang="es-PE"/>
        </a:p>
      </dgm:t>
    </dgm:pt>
    <dgm:pt modelId="{B04A4DB1-8A65-405D-A9FF-F09FD21D735D}" type="pres">
      <dgm:prSet presAssocID="{7C456F81-39E8-4A49-BB92-6D9710B9C08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61B81A5-9CA1-4DBD-9B47-64E00DB700FB}" type="pres">
      <dgm:prSet presAssocID="{BDC5F6A9-EED0-4BBA-A953-80B17F5BCBF6}" presName="hierRoot1" presStyleCnt="0">
        <dgm:presLayoutVars>
          <dgm:hierBranch val="init"/>
        </dgm:presLayoutVars>
      </dgm:prSet>
      <dgm:spPr/>
    </dgm:pt>
    <dgm:pt modelId="{C5BEE213-8E9E-461D-87E2-99E5F4CA3D93}" type="pres">
      <dgm:prSet presAssocID="{BDC5F6A9-EED0-4BBA-A953-80B17F5BCBF6}" presName="rootComposite1" presStyleCnt="0"/>
      <dgm:spPr/>
    </dgm:pt>
    <dgm:pt modelId="{066E8638-6B43-4626-B2BC-6439D5CB6903}" type="pres">
      <dgm:prSet presAssocID="{BDC5F6A9-EED0-4BBA-A953-80B17F5BCBF6}" presName="rootText1" presStyleLbl="node0" presStyleIdx="0" presStyleCnt="3">
        <dgm:presLayoutVars>
          <dgm:chPref val="3"/>
        </dgm:presLayoutVars>
      </dgm:prSet>
      <dgm:spPr/>
    </dgm:pt>
    <dgm:pt modelId="{B2CF8861-D546-48BF-8605-A0B0689F336C}" type="pres">
      <dgm:prSet presAssocID="{BDC5F6A9-EED0-4BBA-A953-80B17F5BCBF6}" presName="rootConnector1" presStyleLbl="node1" presStyleIdx="0" presStyleCnt="0"/>
      <dgm:spPr/>
    </dgm:pt>
    <dgm:pt modelId="{4552F86E-171D-4D57-BF2B-065C2DC6E063}" type="pres">
      <dgm:prSet presAssocID="{BDC5F6A9-EED0-4BBA-A953-80B17F5BCBF6}" presName="hierChild2" presStyleCnt="0"/>
      <dgm:spPr/>
    </dgm:pt>
    <dgm:pt modelId="{E4707A64-0BF8-4865-8496-3A37C893985E}" type="pres">
      <dgm:prSet presAssocID="{686EE54E-2CC1-4ABF-B221-047AC1ECAA71}" presName="Name37" presStyleLbl="parChTrans1D2" presStyleIdx="0" presStyleCnt="4"/>
      <dgm:spPr/>
    </dgm:pt>
    <dgm:pt modelId="{D10E7A93-7D18-48F8-BE3A-761931A00B39}" type="pres">
      <dgm:prSet presAssocID="{E4B4F9F4-D240-4EF9-8A3E-0060574F32FE}" presName="hierRoot2" presStyleCnt="0">
        <dgm:presLayoutVars>
          <dgm:hierBranch val="init"/>
        </dgm:presLayoutVars>
      </dgm:prSet>
      <dgm:spPr/>
    </dgm:pt>
    <dgm:pt modelId="{C1D3207F-CD32-4B7F-8924-6C080651588E}" type="pres">
      <dgm:prSet presAssocID="{E4B4F9F4-D240-4EF9-8A3E-0060574F32FE}" presName="rootComposite" presStyleCnt="0"/>
      <dgm:spPr/>
    </dgm:pt>
    <dgm:pt modelId="{C0FF33DF-CA61-43D8-9567-8947149FFC4D}" type="pres">
      <dgm:prSet presAssocID="{E4B4F9F4-D240-4EF9-8A3E-0060574F32FE}" presName="rootText" presStyleLbl="node2" presStyleIdx="0" presStyleCnt="4">
        <dgm:presLayoutVars>
          <dgm:chPref val="3"/>
        </dgm:presLayoutVars>
      </dgm:prSet>
      <dgm:spPr/>
    </dgm:pt>
    <dgm:pt modelId="{E58EEF2C-ECD0-400C-98A2-66555E0AE16C}" type="pres">
      <dgm:prSet presAssocID="{E4B4F9F4-D240-4EF9-8A3E-0060574F32FE}" presName="rootConnector" presStyleLbl="node2" presStyleIdx="0" presStyleCnt="4"/>
      <dgm:spPr/>
    </dgm:pt>
    <dgm:pt modelId="{E5F10C7B-88F2-4979-B2F9-253C6A93E146}" type="pres">
      <dgm:prSet presAssocID="{E4B4F9F4-D240-4EF9-8A3E-0060574F32FE}" presName="hierChild4" presStyleCnt="0"/>
      <dgm:spPr/>
    </dgm:pt>
    <dgm:pt modelId="{7A535D29-0E21-42FC-AB08-343B963AE611}" type="pres">
      <dgm:prSet presAssocID="{38D42633-C57A-4D70-8EAE-A8D972120E52}" presName="Name37" presStyleLbl="parChTrans1D3" presStyleIdx="0" presStyleCnt="22"/>
      <dgm:spPr/>
    </dgm:pt>
    <dgm:pt modelId="{F67633B3-F96F-4871-A16C-5B62EEB8A804}" type="pres">
      <dgm:prSet presAssocID="{D42CCFC8-F48A-4ED8-B845-DE2B6E08FF75}" presName="hierRoot2" presStyleCnt="0">
        <dgm:presLayoutVars>
          <dgm:hierBranch val="init"/>
        </dgm:presLayoutVars>
      </dgm:prSet>
      <dgm:spPr/>
    </dgm:pt>
    <dgm:pt modelId="{55108C13-F42A-4F4A-BD74-C0D4D1C72064}" type="pres">
      <dgm:prSet presAssocID="{D42CCFC8-F48A-4ED8-B845-DE2B6E08FF75}" presName="rootComposite" presStyleCnt="0"/>
      <dgm:spPr/>
    </dgm:pt>
    <dgm:pt modelId="{80165183-E835-40B7-98A6-B222C4B774CE}" type="pres">
      <dgm:prSet presAssocID="{D42CCFC8-F48A-4ED8-B845-DE2B6E08FF75}" presName="rootText" presStyleLbl="node3" presStyleIdx="0" presStyleCnt="22">
        <dgm:presLayoutVars>
          <dgm:chPref val="3"/>
        </dgm:presLayoutVars>
      </dgm:prSet>
      <dgm:spPr/>
    </dgm:pt>
    <dgm:pt modelId="{A94F5DD6-EF87-480D-A5D8-819FAFAE07B3}" type="pres">
      <dgm:prSet presAssocID="{D42CCFC8-F48A-4ED8-B845-DE2B6E08FF75}" presName="rootConnector" presStyleLbl="node3" presStyleIdx="0" presStyleCnt="22"/>
      <dgm:spPr/>
    </dgm:pt>
    <dgm:pt modelId="{7CBA4190-7D58-4022-A844-C5893473FC28}" type="pres">
      <dgm:prSet presAssocID="{D42CCFC8-F48A-4ED8-B845-DE2B6E08FF75}" presName="hierChild4" presStyleCnt="0"/>
      <dgm:spPr/>
    </dgm:pt>
    <dgm:pt modelId="{DD7DC43C-785A-443C-B26A-04B366690519}" type="pres">
      <dgm:prSet presAssocID="{D42CCFC8-F48A-4ED8-B845-DE2B6E08FF75}" presName="hierChild5" presStyleCnt="0"/>
      <dgm:spPr/>
    </dgm:pt>
    <dgm:pt modelId="{7BDAD112-6EE8-4EDB-9ECE-11C0741097FC}" type="pres">
      <dgm:prSet presAssocID="{A812BC8D-DA5A-4E88-BB70-FA370E0F0C5B}" presName="Name37" presStyleLbl="parChTrans1D3" presStyleIdx="1" presStyleCnt="22"/>
      <dgm:spPr/>
    </dgm:pt>
    <dgm:pt modelId="{BC9E8A80-9959-4E7B-8867-B7BC0F88D483}" type="pres">
      <dgm:prSet presAssocID="{DB2F9BFA-637D-4F48-8548-CECDA742F819}" presName="hierRoot2" presStyleCnt="0">
        <dgm:presLayoutVars>
          <dgm:hierBranch val="init"/>
        </dgm:presLayoutVars>
      </dgm:prSet>
      <dgm:spPr/>
    </dgm:pt>
    <dgm:pt modelId="{6628587D-FDC0-4194-8F4B-19DEB692EA7C}" type="pres">
      <dgm:prSet presAssocID="{DB2F9BFA-637D-4F48-8548-CECDA742F819}" presName="rootComposite" presStyleCnt="0"/>
      <dgm:spPr/>
    </dgm:pt>
    <dgm:pt modelId="{4D2A5E80-A074-4010-9B20-BF4F65F2058D}" type="pres">
      <dgm:prSet presAssocID="{DB2F9BFA-637D-4F48-8548-CECDA742F819}" presName="rootText" presStyleLbl="node3" presStyleIdx="1" presStyleCnt="22">
        <dgm:presLayoutVars>
          <dgm:chPref val="3"/>
        </dgm:presLayoutVars>
      </dgm:prSet>
      <dgm:spPr/>
    </dgm:pt>
    <dgm:pt modelId="{7EDEAF4E-817B-4561-B82A-B0B47142E78A}" type="pres">
      <dgm:prSet presAssocID="{DB2F9BFA-637D-4F48-8548-CECDA742F819}" presName="rootConnector" presStyleLbl="node3" presStyleIdx="1" presStyleCnt="22"/>
      <dgm:spPr/>
    </dgm:pt>
    <dgm:pt modelId="{F213845C-8585-4DE3-9CFC-3A39F544F9AE}" type="pres">
      <dgm:prSet presAssocID="{DB2F9BFA-637D-4F48-8548-CECDA742F819}" presName="hierChild4" presStyleCnt="0"/>
      <dgm:spPr/>
    </dgm:pt>
    <dgm:pt modelId="{76069CDE-337A-4DA6-B40F-B396F3608C8E}" type="pres">
      <dgm:prSet presAssocID="{DB2F9BFA-637D-4F48-8548-CECDA742F819}" presName="hierChild5" presStyleCnt="0"/>
      <dgm:spPr/>
    </dgm:pt>
    <dgm:pt modelId="{FB3CCA32-FA4D-4D50-BB97-3CAF5E5A4889}" type="pres">
      <dgm:prSet presAssocID="{32034CE2-CECF-4285-8EBB-7E744E5540F9}" presName="Name37" presStyleLbl="parChTrans1D3" presStyleIdx="2" presStyleCnt="22"/>
      <dgm:spPr/>
    </dgm:pt>
    <dgm:pt modelId="{8DBF82C7-5CA6-41FD-A574-BE21286C3574}" type="pres">
      <dgm:prSet presAssocID="{5F3259C2-5AB8-4CE8-AD19-157A3BE11482}" presName="hierRoot2" presStyleCnt="0">
        <dgm:presLayoutVars>
          <dgm:hierBranch val="init"/>
        </dgm:presLayoutVars>
      </dgm:prSet>
      <dgm:spPr/>
    </dgm:pt>
    <dgm:pt modelId="{3B01AAE6-D364-4559-A852-C29F05A49A93}" type="pres">
      <dgm:prSet presAssocID="{5F3259C2-5AB8-4CE8-AD19-157A3BE11482}" presName="rootComposite" presStyleCnt="0"/>
      <dgm:spPr/>
    </dgm:pt>
    <dgm:pt modelId="{19F09E86-F0DE-4C4A-972F-B66FAD4CC4D9}" type="pres">
      <dgm:prSet presAssocID="{5F3259C2-5AB8-4CE8-AD19-157A3BE11482}" presName="rootText" presStyleLbl="node3" presStyleIdx="2" presStyleCnt="22">
        <dgm:presLayoutVars>
          <dgm:chPref val="3"/>
        </dgm:presLayoutVars>
      </dgm:prSet>
      <dgm:spPr/>
    </dgm:pt>
    <dgm:pt modelId="{738746C3-CC92-43F9-A66B-D5D3C525A0C7}" type="pres">
      <dgm:prSet presAssocID="{5F3259C2-5AB8-4CE8-AD19-157A3BE11482}" presName="rootConnector" presStyleLbl="node3" presStyleIdx="2" presStyleCnt="22"/>
      <dgm:spPr/>
    </dgm:pt>
    <dgm:pt modelId="{EDF856D6-8F58-4B31-800E-8FE67879BBF8}" type="pres">
      <dgm:prSet presAssocID="{5F3259C2-5AB8-4CE8-AD19-157A3BE11482}" presName="hierChild4" presStyleCnt="0"/>
      <dgm:spPr/>
    </dgm:pt>
    <dgm:pt modelId="{CA05EF70-784F-4DFE-BA1B-55594D20ED57}" type="pres">
      <dgm:prSet presAssocID="{5F3259C2-5AB8-4CE8-AD19-157A3BE11482}" presName="hierChild5" presStyleCnt="0"/>
      <dgm:spPr/>
    </dgm:pt>
    <dgm:pt modelId="{7604AD31-352A-44F8-A295-429A89BCAB11}" type="pres">
      <dgm:prSet presAssocID="{4B295F66-D8B2-4E80-83B7-6EAFEC8D3D1B}" presName="Name37" presStyleLbl="parChTrans1D3" presStyleIdx="3" presStyleCnt="22"/>
      <dgm:spPr/>
    </dgm:pt>
    <dgm:pt modelId="{27CD0584-01ED-4FFC-B2ED-019F34AFCA5C}" type="pres">
      <dgm:prSet presAssocID="{BAD3CAEA-CF56-44D1-A383-B635FB82C9B1}" presName="hierRoot2" presStyleCnt="0">
        <dgm:presLayoutVars>
          <dgm:hierBranch val="init"/>
        </dgm:presLayoutVars>
      </dgm:prSet>
      <dgm:spPr/>
    </dgm:pt>
    <dgm:pt modelId="{0A65AC93-19FC-4D19-9DF3-1902F7C616EC}" type="pres">
      <dgm:prSet presAssocID="{BAD3CAEA-CF56-44D1-A383-B635FB82C9B1}" presName="rootComposite" presStyleCnt="0"/>
      <dgm:spPr/>
    </dgm:pt>
    <dgm:pt modelId="{443F4F1D-9945-4AE0-9AD3-A7136D025838}" type="pres">
      <dgm:prSet presAssocID="{BAD3CAEA-CF56-44D1-A383-B635FB82C9B1}" presName="rootText" presStyleLbl="node3" presStyleIdx="3" presStyleCnt="22">
        <dgm:presLayoutVars>
          <dgm:chPref val="3"/>
        </dgm:presLayoutVars>
      </dgm:prSet>
      <dgm:spPr/>
    </dgm:pt>
    <dgm:pt modelId="{A4244743-949B-4E33-9C18-EBE8F71B6A6E}" type="pres">
      <dgm:prSet presAssocID="{BAD3CAEA-CF56-44D1-A383-B635FB82C9B1}" presName="rootConnector" presStyleLbl="node3" presStyleIdx="3" presStyleCnt="22"/>
      <dgm:spPr/>
    </dgm:pt>
    <dgm:pt modelId="{F9F92E58-C9A9-44F2-AF12-B8A783BD1258}" type="pres">
      <dgm:prSet presAssocID="{BAD3CAEA-CF56-44D1-A383-B635FB82C9B1}" presName="hierChild4" presStyleCnt="0"/>
      <dgm:spPr/>
    </dgm:pt>
    <dgm:pt modelId="{DFAD1BF5-6716-4A16-8CB7-6393093C853A}" type="pres">
      <dgm:prSet presAssocID="{BAD3CAEA-CF56-44D1-A383-B635FB82C9B1}" presName="hierChild5" presStyleCnt="0"/>
      <dgm:spPr/>
    </dgm:pt>
    <dgm:pt modelId="{7C64FFE2-EDD1-4356-B1F6-B51EABFEF803}" type="pres">
      <dgm:prSet presAssocID="{38F91D7F-6BCE-4D2B-8083-3983004BC263}" presName="Name37" presStyleLbl="parChTrans1D3" presStyleIdx="4" presStyleCnt="22"/>
      <dgm:spPr/>
    </dgm:pt>
    <dgm:pt modelId="{B20699D1-D14E-466B-9677-F5CE44091320}" type="pres">
      <dgm:prSet presAssocID="{5CDFC6AB-AF9B-4F4B-8DB6-18F5619B643C}" presName="hierRoot2" presStyleCnt="0">
        <dgm:presLayoutVars>
          <dgm:hierBranch val="init"/>
        </dgm:presLayoutVars>
      </dgm:prSet>
      <dgm:spPr/>
    </dgm:pt>
    <dgm:pt modelId="{D31E84F0-044A-40A3-A21D-CE3CFCAA434B}" type="pres">
      <dgm:prSet presAssocID="{5CDFC6AB-AF9B-4F4B-8DB6-18F5619B643C}" presName="rootComposite" presStyleCnt="0"/>
      <dgm:spPr/>
    </dgm:pt>
    <dgm:pt modelId="{7B02EBED-9903-4F58-9317-86CEF8CC4CF2}" type="pres">
      <dgm:prSet presAssocID="{5CDFC6AB-AF9B-4F4B-8DB6-18F5619B643C}" presName="rootText" presStyleLbl="node3" presStyleIdx="4" presStyleCnt="22">
        <dgm:presLayoutVars>
          <dgm:chPref val="3"/>
        </dgm:presLayoutVars>
      </dgm:prSet>
      <dgm:spPr/>
    </dgm:pt>
    <dgm:pt modelId="{C4C52338-541E-4D2A-A767-90DB37F3F51D}" type="pres">
      <dgm:prSet presAssocID="{5CDFC6AB-AF9B-4F4B-8DB6-18F5619B643C}" presName="rootConnector" presStyleLbl="node3" presStyleIdx="4" presStyleCnt="22"/>
      <dgm:spPr/>
    </dgm:pt>
    <dgm:pt modelId="{686A83D9-1556-4288-B571-FCDC0C031F0D}" type="pres">
      <dgm:prSet presAssocID="{5CDFC6AB-AF9B-4F4B-8DB6-18F5619B643C}" presName="hierChild4" presStyleCnt="0"/>
      <dgm:spPr/>
    </dgm:pt>
    <dgm:pt modelId="{3D30C8F4-1A97-443E-9403-0FD35819CC38}" type="pres">
      <dgm:prSet presAssocID="{5CDFC6AB-AF9B-4F4B-8DB6-18F5619B643C}" presName="hierChild5" presStyleCnt="0"/>
      <dgm:spPr/>
    </dgm:pt>
    <dgm:pt modelId="{0E0B4CBD-9A62-4CC3-9FC0-CED86B798149}" type="pres">
      <dgm:prSet presAssocID="{A029A73B-703F-4777-8B87-9E8F1D3B3BDA}" presName="Name37" presStyleLbl="parChTrans1D3" presStyleIdx="5" presStyleCnt="22"/>
      <dgm:spPr/>
    </dgm:pt>
    <dgm:pt modelId="{1310E0A7-0CFE-4DC3-8E0B-52295EDAD4AF}" type="pres">
      <dgm:prSet presAssocID="{D0D9162D-5DD8-44DA-985A-4D100C5CABFF}" presName="hierRoot2" presStyleCnt="0">
        <dgm:presLayoutVars>
          <dgm:hierBranch val="init"/>
        </dgm:presLayoutVars>
      </dgm:prSet>
      <dgm:spPr/>
    </dgm:pt>
    <dgm:pt modelId="{20BCDFE3-31BC-4840-86A7-E3CEA7B03A72}" type="pres">
      <dgm:prSet presAssocID="{D0D9162D-5DD8-44DA-985A-4D100C5CABFF}" presName="rootComposite" presStyleCnt="0"/>
      <dgm:spPr/>
    </dgm:pt>
    <dgm:pt modelId="{0759E7C1-FD3B-4E2F-8000-FB1BCCDF85E1}" type="pres">
      <dgm:prSet presAssocID="{D0D9162D-5DD8-44DA-985A-4D100C5CABFF}" presName="rootText" presStyleLbl="node3" presStyleIdx="5" presStyleCnt="22">
        <dgm:presLayoutVars>
          <dgm:chPref val="3"/>
        </dgm:presLayoutVars>
      </dgm:prSet>
      <dgm:spPr/>
    </dgm:pt>
    <dgm:pt modelId="{AED935A1-DBC9-406D-AFDB-16579953553F}" type="pres">
      <dgm:prSet presAssocID="{D0D9162D-5DD8-44DA-985A-4D100C5CABFF}" presName="rootConnector" presStyleLbl="node3" presStyleIdx="5" presStyleCnt="22"/>
      <dgm:spPr/>
    </dgm:pt>
    <dgm:pt modelId="{7660D40B-D97B-4168-AD57-FD5FAB0FAD53}" type="pres">
      <dgm:prSet presAssocID="{D0D9162D-5DD8-44DA-985A-4D100C5CABFF}" presName="hierChild4" presStyleCnt="0"/>
      <dgm:spPr/>
    </dgm:pt>
    <dgm:pt modelId="{BA2323F9-E68F-4FD7-857B-1151D287CF03}" type="pres">
      <dgm:prSet presAssocID="{D0D9162D-5DD8-44DA-985A-4D100C5CABFF}" presName="hierChild5" presStyleCnt="0"/>
      <dgm:spPr/>
    </dgm:pt>
    <dgm:pt modelId="{8D44C781-567E-44BC-BAB9-8536F6BDB1C7}" type="pres">
      <dgm:prSet presAssocID="{78E7B7CD-E3AF-49F3-A289-06D2ADA2AE78}" presName="Name37" presStyleLbl="parChTrans1D3" presStyleIdx="6" presStyleCnt="22"/>
      <dgm:spPr/>
    </dgm:pt>
    <dgm:pt modelId="{7B51F1A3-FE1E-4B30-AE9C-613E80E50966}" type="pres">
      <dgm:prSet presAssocID="{FFA5421F-27D0-4DFF-8F9B-265F3DEC0563}" presName="hierRoot2" presStyleCnt="0">
        <dgm:presLayoutVars>
          <dgm:hierBranch val="init"/>
        </dgm:presLayoutVars>
      </dgm:prSet>
      <dgm:spPr/>
    </dgm:pt>
    <dgm:pt modelId="{612905C9-9E38-4A21-BD2F-541D2BB4B8A6}" type="pres">
      <dgm:prSet presAssocID="{FFA5421F-27D0-4DFF-8F9B-265F3DEC0563}" presName="rootComposite" presStyleCnt="0"/>
      <dgm:spPr/>
    </dgm:pt>
    <dgm:pt modelId="{A72C8DE6-A6EB-42A1-AAB2-C7A5552D29F0}" type="pres">
      <dgm:prSet presAssocID="{FFA5421F-27D0-4DFF-8F9B-265F3DEC0563}" presName="rootText" presStyleLbl="node3" presStyleIdx="6" presStyleCnt="22">
        <dgm:presLayoutVars>
          <dgm:chPref val="3"/>
        </dgm:presLayoutVars>
      </dgm:prSet>
      <dgm:spPr/>
    </dgm:pt>
    <dgm:pt modelId="{1FD75344-0537-4D87-B1DA-06763D357446}" type="pres">
      <dgm:prSet presAssocID="{FFA5421F-27D0-4DFF-8F9B-265F3DEC0563}" presName="rootConnector" presStyleLbl="node3" presStyleIdx="6" presStyleCnt="22"/>
      <dgm:spPr/>
    </dgm:pt>
    <dgm:pt modelId="{F361AF5D-5E6C-43E5-ABB4-4A2A249CA8EF}" type="pres">
      <dgm:prSet presAssocID="{FFA5421F-27D0-4DFF-8F9B-265F3DEC0563}" presName="hierChild4" presStyleCnt="0"/>
      <dgm:spPr/>
    </dgm:pt>
    <dgm:pt modelId="{C3E4682F-57FE-49C5-83A1-BE21274E2B4F}" type="pres">
      <dgm:prSet presAssocID="{FFA5421F-27D0-4DFF-8F9B-265F3DEC0563}" presName="hierChild5" presStyleCnt="0"/>
      <dgm:spPr/>
    </dgm:pt>
    <dgm:pt modelId="{5F14F16D-D16E-4658-9C0A-9D2A247A5CEC}" type="pres">
      <dgm:prSet presAssocID="{E37A84A8-E4B7-4F72-BCC8-E17B1C733450}" presName="Name37" presStyleLbl="parChTrans1D3" presStyleIdx="7" presStyleCnt="22"/>
      <dgm:spPr/>
    </dgm:pt>
    <dgm:pt modelId="{9A957B69-9D61-4DDA-B767-A3017595C5D0}" type="pres">
      <dgm:prSet presAssocID="{28EBC714-E5E5-4238-BC32-9DA37C4B6470}" presName="hierRoot2" presStyleCnt="0">
        <dgm:presLayoutVars>
          <dgm:hierBranch val="init"/>
        </dgm:presLayoutVars>
      </dgm:prSet>
      <dgm:spPr/>
    </dgm:pt>
    <dgm:pt modelId="{6AED3CA1-465A-40E9-8819-8B4CFE41C925}" type="pres">
      <dgm:prSet presAssocID="{28EBC714-E5E5-4238-BC32-9DA37C4B6470}" presName="rootComposite" presStyleCnt="0"/>
      <dgm:spPr/>
    </dgm:pt>
    <dgm:pt modelId="{919EC09E-513E-4304-BCC8-711A5FE6DBD0}" type="pres">
      <dgm:prSet presAssocID="{28EBC714-E5E5-4238-BC32-9DA37C4B6470}" presName="rootText" presStyleLbl="node3" presStyleIdx="7" presStyleCnt="22">
        <dgm:presLayoutVars>
          <dgm:chPref val="3"/>
        </dgm:presLayoutVars>
      </dgm:prSet>
      <dgm:spPr/>
    </dgm:pt>
    <dgm:pt modelId="{E21B903E-34D1-43D0-9118-61AB99E18B06}" type="pres">
      <dgm:prSet presAssocID="{28EBC714-E5E5-4238-BC32-9DA37C4B6470}" presName="rootConnector" presStyleLbl="node3" presStyleIdx="7" presStyleCnt="22"/>
      <dgm:spPr/>
    </dgm:pt>
    <dgm:pt modelId="{3CE998A1-2BF9-449C-9A7D-C96C32A23C64}" type="pres">
      <dgm:prSet presAssocID="{28EBC714-E5E5-4238-BC32-9DA37C4B6470}" presName="hierChild4" presStyleCnt="0"/>
      <dgm:spPr/>
    </dgm:pt>
    <dgm:pt modelId="{B2569811-231B-41C3-9B00-4EEA69DA1A62}" type="pres">
      <dgm:prSet presAssocID="{28EBC714-E5E5-4238-BC32-9DA37C4B6470}" presName="hierChild5" presStyleCnt="0"/>
      <dgm:spPr/>
    </dgm:pt>
    <dgm:pt modelId="{4E72B058-E82D-4F24-AFBA-DC172A2838F1}" type="pres">
      <dgm:prSet presAssocID="{E4B4F9F4-D240-4EF9-8A3E-0060574F32FE}" presName="hierChild5" presStyleCnt="0"/>
      <dgm:spPr/>
    </dgm:pt>
    <dgm:pt modelId="{D99DC523-A0FB-4625-8353-E7BE586ED17F}" type="pres">
      <dgm:prSet presAssocID="{CC5A209D-1098-4CF6-9C19-CDBB138D5A53}" presName="Name37" presStyleLbl="parChTrans1D2" presStyleIdx="1" presStyleCnt="4"/>
      <dgm:spPr/>
    </dgm:pt>
    <dgm:pt modelId="{FBEDF354-4AB7-4D88-9F9F-38E999D759BC}" type="pres">
      <dgm:prSet presAssocID="{AE4AEB44-270D-4A4A-986A-D0C7568AB1FF}" presName="hierRoot2" presStyleCnt="0">
        <dgm:presLayoutVars>
          <dgm:hierBranch val="init"/>
        </dgm:presLayoutVars>
      </dgm:prSet>
      <dgm:spPr/>
    </dgm:pt>
    <dgm:pt modelId="{97D6BF4C-48AF-43AC-8265-7D3FC4D59F6A}" type="pres">
      <dgm:prSet presAssocID="{AE4AEB44-270D-4A4A-986A-D0C7568AB1FF}" presName="rootComposite" presStyleCnt="0"/>
      <dgm:spPr/>
    </dgm:pt>
    <dgm:pt modelId="{0E214E11-E023-42F0-949E-D4B5EE6BF00B}" type="pres">
      <dgm:prSet presAssocID="{AE4AEB44-270D-4A4A-986A-D0C7568AB1FF}" presName="rootText" presStyleLbl="node2" presStyleIdx="1" presStyleCnt="4">
        <dgm:presLayoutVars>
          <dgm:chPref val="3"/>
        </dgm:presLayoutVars>
      </dgm:prSet>
      <dgm:spPr/>
    </dgm:pt>
    <dgm:pt modelId="{174DBD7B-676F-40CB-A854-FFEAC812914A}" type="pres">
      <dgm:prSet presAssocID="{AE4AEB44-270D-4A4A-986A-D0C7568AB1FF}" presName="rootConnector" presStyleLbl="node2" presStyleIdx="1" presStyleCnt="4"/>
      <dgm:spPr/>
    </dgm:pt>
    <dgm:pt modelId="{EC34D6C9-E2EE-4164-9A64-D01FDBECE3F8}" type="pres">
      <dgm:prSet presAssocID="{AE4AEB44-270D-4A4A-986A-D0C7568AB1FF}" presName="hierChild4" presStyleCnt="0"/>
      <dgm:spPr/>
    </dgm:pt>
    <dgm:pt modelId="{8603216B-8D19-4F7D-B157-A8C9FEF99D65}" type="pres">
      <dgm:prSet presAssocID="{ED56C5B0-A8EF-4171-B1D5-E243FAD33B08}" presName="Name37" presStyleLbl="parChTrans1D3" presStyleIdx="8" presStyleCnt="22"/>
      <dgm:spPr/>
    </dgm:pt>
    <dgm:pt modelId="{2C4F6A6F-D776-49AE-BF12-3A525B4F42B9}" type="pres">
      <dgm:prSet presAssocID="{436966C0-1DA5-462C-A792-C39AB9A2902C}" presName="hierRoot2" presStyleCnt="0">
        <dgm:presLayoutVars>
          <dgm:hierBranch val="init"/>
        </dgm:presLayoutVars>
      </dgm:prSet>
      <dgm:spPr/>
    </dgm:pt>
    <dgm:pt modelId="{2043F8E6-629A-4731-88C6-29FB77F5D402}" type="pres">
      <dgm:prSet presAssocID="{436966C0-1DA5-462C-A792-C39AB9A2902C}" presName="rootComposite" presStyleCnt="0"/>
      <dgm:spPr/>
    </dgm:pt>
    <dgm:pt modelId="{04855EF9-FF16-4EFE-927E-96BB0C8C3828}" type="pres">
      <dgm:prSet presAssocID="{436966C0-1DA5-462C-A792-C39AB9A2902C}" presName="rootText" presStyleLbl="node3" presStyleIdx="8" presStyleCnt="22">
        <dgm:presLayoutVars>
          <dgm:chPref val="3"/>
        </dgm:presLayoutVars>
      </dgm:prSet>
      <dgm:spPr/>
    </dgm:pt>
    <dgm:pt modelId="{5DFBA267-DF77-4DE3-A8C4-1B09CE8BF4DF}" type="pres">
      <dgm:prSet presAssocID="{436966C0-1DA5-462C-A792-C39AB9A2902C}" presName="rootConnector" presStyleLbl="node3" presStyleIdx="8" presStyleCnt="22"/>
      <dgm:spPr/>
    </dgm:pt>
    <dgm:pt modelId="{893B0839-4048-405B-8D0F-C05E7B895C08}" type="pres">
      <dgm:prSet presAssocID="{436966C0-1DA5-462C-A792-C39AB9A2902C}" presName="hierChild4" presStyleCnt="0"/>
      <dgm:spPr/>
    </dgm:pt>
    <dgm:pt modelId="{87C11AD4-75AD-4029-9FBD-53CA3B53EB55}" type="pres">
      <dgm:prSet presAssocID="{436966C0-1DA5-462C-A792-C39AB9A2902C}" presName="hierChild5" presStyleCnt="0"/>
      <dgm:spPr/>
    </dgm:pt>
    <dgm:pt modelId="{F69EEDA8-9567-42CC-9112-111738129BE7}" type="pres">
      <dgm:prSet presAssocID="{B5C7F105-394D-4F3A-AF40-9038972CC8F1}" presName="Name37" presStyleLbl="parChTrans1D3" presStyleIdx="9" presStyleCnt="22"/>
      <dgm:spPr/>
    </dgm:pt>
    <dgm:pt modelId="{DF859D5F-0D06-4B1A-9DD2-CA057DE577DC}" type="pres">
      <dgm:prSet presAssocID="{7AC60666-22AF-48BA-A18E-BD93B55C4E89}" presName="hierRoot2" presStyleCnt="0">
        <dgm:presLayoutVars>
          <dgm:hierBranch val="init"/>
        </dgm:presLayoutVars>
      </dgm:prSet>
      <dgm:spPr/>
    </dgm:pt>
    <dgm:pt modelId="{00AE2F07-98E0-4318-81E4-1EAEFD56F810}" type="pres">
      <dgm:prSet presAssocID="{7AC60666-22AF-48BA-A18E-BD93B55C4E89}" presName="rootComposite" presStyleCnt="0"/>
      <dgm:spPr/>
    </dgm:pt>
    <dgm:pt modelId="{45452F55-DA4B-4CF1-B8C9-9D131B82C15F}" type="pres">
      <dgm:prSet presAssocID="{7AC60666-22AF-48BA-A18E-BD93B55C4E89}" presName="rootText" presStyleLbl="node3" presStyleIdx="9" presStyleCnt="22">
        <dgm:presLayoutVars>
          <dgm:chPref val="3"/>
        </dgm:presLayoutVars>
      </dgm:prSet>
      <dgm:spPr/>
    </dgm:pt>
    <dgm:pt modelId="{BE448B71-95F7-4C01-B1EF-656585C1DE9F}" type="pres">
      <dgm:prSet presAssocID="{7AC60666-22AF-48BA-A18E-BD93B55C4E89}" presName="rootConnector" presStyleLbl="node3" presStyleIdx="9" presStyleCnt="22"/>
      <dgm:spPr/>
    </dgm:pt>
    <dgm:pt modelId="{E0BF60B2-969F-4158-B78C-F60C19B30454}" type="pres">
      <dgm:prSet presAssocID="{7AC60666-22AF-48BA-A18E-BD93B55C4E89}" presName="hierChild4" presStyleCnt="0"/>
      <dgm:spPr/>
    </dgm:pt>
    <dgm:pt modelId="{FBE7C3FC-767C-468D-AE27-40FFEE41A8A8}" type="pres">
      <dgm:prSet presAssocID="{7AC60666-22AF-48BA-A18E-BD93B55C4E89}" presName="hierChild5" presStyleCnt="0"/>
      <dgm:spPr/>
    </dgm:pt>
    <dgm:pt modelId="{832F2DA1-4B04-4F3B-896F-155C25AF0DC8}" type="pres">
      <dgm:prSet presAssocID="{93BA14B6-8766-4789-AFCE-C7843D9F6784}" presName="Name37" presStyleLbl="parChTrans1D3" presStyleIdx="10" presStyleCnt="22"/>
      <dgm:spPr/>
    </dgm:pt>
    <dgm:pt modelId="{3399BA6C-09A1-4391-998B-3E127BC5E1E3}" type="pres">
      <dgm:prSet presAssocID="{B13AEDA5-081A-4B41-82EF-EE7883D62716}" presName="hierRoot2" presStyleCnt="0">
        <dgm:presLayoutVars>
          <dgm:hierBranch val="init"/>
        </dgm:presLayoutVars>
      </dgm:prSet>
      <dgm:spPr/>
    </dgm:pt>
    <dgm:pt modelId="{B42A161F-0EF0-4692-8787-BCD193645024}" type="pres">
      <dgm:prSet presAssocID="{B13AEDA5-081A-4B41-82EF-EE7883D62716}" presName="rootComposite" presStyleCnt="0"/>
      <dgm:spPr/>
    </dgm:pt>
    <dgm:pt modelId="{7AE8ED15-1329-4C7F-868A-5A6EF10B3337}" type="pres">
      <dgm:prSet presAssocID="{B13AEDA5-081A-4B41-82EF-EE7883D62716}" presName="rootText" presStyleLbl="node3" presStyleIdx="10" presStyleCnt="22">
        <dgm:presLayoutVars>
          <dgm:chPref val="3"/>
        </dgm:presLayoutVars>
      </dgm:prSet>
      <dgm:spPr/>
    </dgm:pt>
    <dgm:pt modelId="{2BA97663-F3C6-4940-B0EB-1C0F34ED6C41}" type="pres">
      <dgm:prSet presAssocID="{B13AEDA5-081A-4B41-82EF-EE7883D62716}" presName="rootConnector" presStyleLbl="node3" presStyleIdx="10" presStyleCnt="22"/>
      <dgm:spPr/>
    </dgm:pt>
    <dgm:pt modelId="{28B3F8D8-1D09-4659-8FA4-A137AF9EC47A}" type="pres">
      <dgm:prSet presAssocID="{B13AEDA5-081A-4B41-82EF-EE7883D62716}" presName="hierChild4" presStyleCnt="0"/>
      <dgm:spPr/>
    </dgm:pt>
    <dgm:pt modelId="{DCD100C1-463D-4FB5-A21A-93EFDD0CD4AD}" type="pres">
      <dgm:prSet presAssocID="{B13AEDA5-081A-4B41-82EF-EE7883D62716}" presName="hierChild5" presStyleCnt="0"/>
      <dgm:spPr/>
    </dgm:pt>
    <dgm:pt modelId="{79E8509D-D200-4AD2-9176-BA1C925FA3FE}" type="pres">
      <dgm:prSet presAssocID="{DF961A74-B5F5-4B93-9FA9-DE5DA87D9BD2}" presName="Name37" presStyleLbl="parChTrans1D3" presStyleIdx="11" presStyleCnt="22"/>
      <dgm:spPr/>
    </dgm:pt>
    <dgm:pt modelId="{1651CB8F-F8F3-4697-A767-3A8CCA72DE1F}" type="pres">
      <dgm:prSet presAssocID="{CD9B72B4-5551-4360-B639-5D4178A91D70}" presName="hierRoot2" presStyleCnt="0">
        <dgm:presLayoutVars>
          <dgm:hierBranch val="init"/>
        </dgm:presLayoutVars>
      </dgm:prSet>
      <dgm:spPr/>
    </dgm:pt>
    <dgm:pt modelId="{EDB371B7-8CE5-4EB1-AD3F-E0F4173FC1DF}" type="pres">
      <dgm:prSet presAssocID="{CD9B72B4-5551-4360-B639-5D4178A91D70}" presName="rootComposite" presStyleCnt="0"/>
      <dgm:spPr/>
    </dgm:pt>
    <dgm:pt modelId="{8EFCE613-0888-43C3-A88B-CA08106F9803}" type="pres">
      <dgm:prSet presAssocID="{CD9B72B4-5551-4360-B639-5D4178A91D70}" presName="rootText" presStyleLbl="node3" presStyleIdx="11" presStyleCnt="22">
        <dgm:presLayoutVars>
          <dgm:chPref val="3"/>
        </dgm:presLayoutVars>
      </dgm:prSet>
      <dgm:spPr/>
    </dgm:pt>
    <dgm:pt modelId="{1F684BA0-1660-4D79-9FD9-76528EB8C18D}" type="pres">
      <dgm:prSet presAssocID="{CD9B72B4-5551-4360-B639-5D4178A91D70}" presName="rootConnector" presStyleLbl="node3" presStyleIdx="11" presStyleCnt="22"/>
      <dgm:spPr/>
    </dgm:pt>
    <dgm:pt modelId="{289A3F5D-28EA-4566-A470-4B01F223C54F}" type="pres">
      <dgm:prSet presAssocID="{CD9B72B4-5551-4360-B639-5D4178A91D70}" presName="hierChild4" presStyleCnt="0"/>
      <dgm:spPr/>
    </dgm:pt>
    <dgm:pt modelId="{1B8F0675-C087-4017-AD83-CA4E2F2240FC}" type="pres">
      <dgm:prSet presAssocID="{CD9B72B4-5551-4360-B639-5D4178A91D70}" presName="hierChild5" presStyleCnt="0"/>
      <dgm:spPr/>
    </dgm:pt>
    <dgm:pt modelId="{4F9CEBCB-3E07-4D52-B4A4-6B8EBED17822}" type="pres">
      <dgm:prSet presAssocID="{1C5B7485-BE1A-44CA-8B64-16EDA3A4FA5C}" presName="Name37" presStyleLbl="parChTrans1D3" presStyleIdx="12" presStyleCnt="22"/>
      <dgm:spPr/>
    </dgm:pt>
    <dgm:pt modelId="{2A4E7294-7F95-4A1D-82D5-DA3C56EC944D}" type="pres">
      <dgm:prSet presAssocID="{98685474-342B-4776-925B-4D5684551333}" presName="hierRoot2" presStyleCnt="0">
        <dgm:presLayoutVars>
          <dgm:hierBranch val="init"/>
        </dgm:presLayoutVars>
      </dgm:prSet>
      <dgm:spPr/>
    </dgm:pt>
    <dgm:pt modelId="{DC2D1273-8E0E-47E3-8C1A-51D464495D74}" type="pres">
      <dgm:prSet presAssocID="{98685474-342B-4776-925B-4D5684551333}" presName="rootComposite" presStyleCnt="0"/>
      <dgm:spPr/>
    </dgm:pt>
    <dgm:pt modelId="{997E4C9A-B4F3-4755-8B1F-D7881B3DF5B8}" type="pres">
      <dgm:prSet presAssocID="{98685474-342B-4776-925B-4D5684551333}" presName="rootText" presStyleLbl="node3" presStyleIdx="12" presStyleCnt="22">
        <dgm:presLayoutVars>
          <dgm:chPref val="3"/>
        </dgm:presLayoutVars>
      </dgm:prSet>
      <dgm:spPr/>
    </dgm:pt>
    <dgm:pt modelId="{C9DED0BE-5CF6-4D57-9E41-34DA0ACE07A9}" type="pres">
      <dgm:prSet presAssocID="{98685474-342B-4776-925B-4D5684551333}" presName="rootConnector" presStyleLbl="node3" presStyleIdx="12" presStyleCnt="22"/>
      <dgm:spPr/>
    </dgm:pt>
    <dgm:pt modelId="{271AFECE-4DA6-47D9-ACCC-44A5BFC0533D}" type="pres">
      <dgm:prSet presAssocID="{98685474-342B-4776-925B-4D5684551333}" presName="hierChild4" presStyleCnt="0"/>
      <dgm:spPr/>
    </dgm:pt>
    <dgm:pt modelId="{8DECCB34-46D5-4133-BD81-C515C2455D15}" type="pres">
      <dgm:prSet presAssocID="{98685474-342B-4776-925B-4D5684551333}" presName="hierChild5" presStyleCnt="0"/>
      <dgm:spPr/>
    </dgm:pt>
    <dgm:pt modelId="{BA26E419-F17E-4A9E-9064-C383D5C7FB4E}" type="pres">
      <dgm:prSet presAssocID="{A405F5A1-D844-4B02-86E3-338731F5988B}" presName="Name37" presStyleLbl="parChTrans1D3" presStyleIdx="13" presStyleCnt="22"/>
      <dgm:spPr/>
    </dgm:pt>
    <dgm:pt modelId="{8537CE07-4A36-4091-852A-7C2EE7665B7A}" type="pres">
      <dgm:prSet presAssocID="{7A822263-1CA6-4B8A-9D05-C06B4361E3BF}" presName="hierRoot2" presStyleCnt="0">
        <dgm:presLayoutVars>
          <dgm:hierBranch val="init"/>
        </dgm:presLayoutVars>
      </dgm:prSet>
      <dgm:spPr/>
    </dgm:pt>
    <dgm:pt modelId="{6EDD9E3F-3217-4427-A9ED-A2EC7C58805F}" type="pres">
      <dgm:prSet presAssocID="{7A822263-1CA6-4B8A-9D05-C06B4361E3BF}" presName="rootComposite" presStyleCnt="0"/>
      <dgm:spPr/>
    </dgm:pt>
    <dgm:pt modelId="{7ACDBADC-81D5-42AD-8E9A-0C6426EACE37}" type="pres">
      <dgm:prSet presAssocID="{7A822263-1CA6-4B8A-9D05-C06B4361E3BF}" presName="rootText" presStyleLbl="node3" presStyleIdx="13" presStyleCnt="22">
        <dgm:presLayoutVars>
          <dgm:chPref val="3"/>
        </dgm:presLayoutVars>
      </dgm:prSet>
      <dgm:spPr/>
    </dgm:pt>
    <dgm:pt modelId="{2CAEAFB1-5FAB-4C69-A903-8041026D7438}" type="pres">
      <dgm:prSet presAssocID="{7A822263-1CA6-4B8A-9D05-C06B4361E3BF}" presName="rootConnector" presStyleLbl="node3" presStyleIdx="13" presStyleCnt="22"/>
      <dgm:spPr/>
    </dgm:pt>
    <dgm:pt modelId="{FF929CCC-95F7-40DA-9C98-51C4CF0CEE3A}" type="pres">
      <dgm:prSet presAssocID="{7A822263-1CA6-4B8A-9D05-C06B4361E3BF}" presName="hierChild4" presStyleCnt="0"/>
      <dgm:spPr/>
    </dgm:pt>
    <dgm:pt modelId="{6A183D8B-5133-4ED2-A973-F2FA2B50E928}" type="pres">
      <dgm:prSet presAssocID="{7A822263-1CA6-4B8A-9D05-C06B4361E3BF}" presName="hierChild5" presStyleCnt="0"/>
      <dgm:spPr/>
    </dgm:pt>
    <dgm:pt modelId="{169C6095-E691-418B-B746-91B0AF7A2B03}" type="pres">
      <dgm:prSet presAssocID="{2E71E581-ABC2-4110-8824-5F9BA3DDBA94}" presName="Name37" presStyleLbl="parChTrans1D3" presStyleIdx="14" presStyleCnt="22"/>
      <dgm:spPr/>
    </dgm:pt>
    <dgm:pt modelId="{CA3E5976-D9E5-45B8-A11B-6B266918FAA3}" type="pres">
      <dgm:prSet presAssocID="{A8104150-7D45-46F6-88C9-CB221FE9A231}" presName="hierRoot2" presStyleCnt="0">
        <dgm:presLayoutVars>
          <dgm:hierBranch val="init"/>
        </dgm:presLayoutVars>
      </dgm:prSet>
      <dgm:spPr/>
    </dgm:pt>
    <dgm:pt modelId="{C7BE2543-9ABE-4FA0-B259-D9B1D27B7F22}" type="pres">
      <dgm:prSet presAssocID="{A8104150-7D45-46F6-88C9-CB221FE9A231}" presName="rootComposite" presStyleCnt="0"/>
      <dgm:spPr/>
    </dgm:pt>
    <dgm:pt modelId="{83F60BAF-4D3C-4FCB-9CB5-71AD72A8DC2B}" type="pres">
      <dgm:prSet presAssocID="{A8104150-7D45-46F6-88C9-CB221FE9A231}" presName="rootText" presStyleLbl="node3" presStyleIdx="14" presStyleCnt="22">
        <dgm:presLayoutVars>
          <dgm:chPref val="3"/>
        </dgm:presLayoutVars>
      </dgm:prSet>
      <dgm:spPr/>
    </dgm:pt>
    <dgm:pt modelId="{5B814F46-9E5C-4F68-B4EC-2E5CCC80D278}" type="pres">
      <dgm:prSet presAssocID="{A8104150-7D45-46F6-88C9-CB221FE9A231}" presName="rootConnector" presStyleLbl="node3" presStyleIdx="14" presStyleCnt="22"/>
      <dgm:spPr/>
    </dgm:pt>
    <dgm:pt modelId="{94ADAADE-B788-4B06-9859-77249A5EBCB2}" type="pres">
      <dgm:prSet presAssocID="{A8104150-7D45-46F6-88C9-CB221FE9A231}" presName="hierChild4" presStyleCnt="0"/>
      <dgm:spPr/>
    </dgm:pt>
    <dgm:pt modelId="{39895D62-B462-45B5-93B5-285951232D3A}" type="pres">
      <dgm:prSet presAssocID="{A8104150-7D45-46F6-88C9-CB221FE9A231}" presName="hierChild5" presStyleCnt="0"/>
      <dgm:spPr/>
    </dgm:pt>
    <dgm:pt modelId="{CA1C1DE5-05F0-4A34-99C9-E164D25BCBA1}" type="pres">
      <dgm:prSet presAssocID="{94FA6FDE-0994-41A3-BC3E-ACD49C879BB4}" presName="Name37" presStyleLbl="parChTrans1D3" presStyleIdx="15" presStyleCnt="22"/>
      <dgm:spPr/>
    </dgm:pt>
    <dgm:pt modelId="{E8B40298-4898-4B3A-89BC-D03F91253C2C}" type="pres">
      <dgm:prSet presAssocID="{B01185A3-7992-4FF9-825D-25231ACF59CB}" presName="hierRoot2" presStyleCnt="0">
        <dgm:presLayoutVars>
          <dgm:hierBranch val="init"/>
        </dgm:presLayoutVars>
      </dgm:prSet>
      <dgm:spPr/>
    </dgm:pt>
    <dgm:pt modelId="{427E2EDB-F476-49B4-ABC5-3EE4280BBB51}" type="pres">
      <dgm:prSet presAssocID="{B01185A3-7992-4FF9-825D-25231ACF59CB}" presName="rootComposite" presStyleCnt="0"/>
      <dgm:spPr/>
    </dgm:pt>
    <dgm:pt modelId="{52D14353-F516-4DF7-926E-8A1F0B1AF587}" type="pres">
      <dgm:prSet presAssocID="{B01185A3-7992-4FF9-825D-25231ACF59CB}" presName="rootText" presStyleLbl="node3" presStyleIdx="15" presStyleCnt="22">
        <dgm:presLayoutVars>
          <dgm:chPref val="3"/>
        </dgm:presLayoutVars>
      </dgm:prSet>
      <dgm:spPr/>
    </dgm:pt>
    <dgm:pt modelId="{ABAC0E1A-6F1A-4F9C-8F96-1C83A5C6FA0B}" type="pres">
      <dgm:prSet presAssocID="{B01185A3-7992-4FF9-825D-25231ACF59CB}" presName="rootConnector" presStyleLbl="node3" presStyleIdx="15" presStyleCnt="22"/>
      <dgm:spPr/>
    </dgm:pt>
    <dgm:pt modelId="{A7493803-F3EA-420F-B007-4EF98BDEC097}" type="pres">
      <dgm:prSet presAssocID="{B01185A3-7992-4FF9-825D-25231ACF59CB}" presName="hierChild4" presStyleCnt="0"/>
      <dgm:spPr/>
    </dgm:pt>
    <dgm:pt modelId="{EA6136D5-F879-4DC2-9275-0DDBF08BAB19}" type="pres">
      <dgm:prSet presAssocID="{B01185A3-7992-4FF9-825D-25231ACF59CB}" presName="hierChild5" presStyleCnt="0"/>
      <dgm:spPr/>
    </dgm:pt>
    <dgm:pt modelId="{52C25AC4-0A92-4D0B-89A4-B56DDF75DAC1}" type="pres">
      <dgm:prSet presAssocID="{AE4AEB44-270D-4A4A-986A-D0C7568AB1FF}" presName="hierChild5" presStyleCnt="0"/>
      <dgm:spPr/>
    </dgm:pt>
    <dgm:pt modelId="{2C5D9233-E922-480E-A546-C8C0865DBB32}" type="pres">
      <dgm:prSet presAssocID="{C4DFA08D-1F8D-41AE-8ACE-B408E812044D}" presName="Name37" presStyleLbl="parChTrans1D2" presStyleIdx="2" presStyleCnt="4"/>
      <dgm:spPr/>
    </dgm:pt>
    <dgm:pt modelId="{6CE57BD3-4BD5-484E-A55F-A7023B984435}" type="pres">
      <dgm:prSet presAssocID="{D220A13B-8F1E-468F-82C7-70F47B586B66}" presName="hierRoot2" presStyleCnt="0">
        <dgm:presLayoutVars>
          <dgm:hierBranch val="init"/>
        </dgm:presLayoutVars>
      </dgm:prSet>
      <dgm:spPr/>
    </dgm:pt>
    <dgm:pt modelId="{104BE414-ECCF-4242-8587-BE6B356FA9BE}" type="pres">
      <dgm:prSet presAssocID="{D220A13B-8F1E-468F-82C7-70F47B586B66}" presName="rootComposite" presStyleCnt="0"/>
      <dgm:spPr/>
    </dgm:pt>
    <dgm:pt modelId="{C211D1E2-A010-4A2B-86E8-0F02FDA687CB}" type="pres">
      <dgm:prSet presAssocID="{D220A13B-8F1E-468F-82C7-70F47B586B66}" presName="rootText" presStyleLbl="node2" presStyleIdx="2" presStyleCnt="4">
        <dgm:presLayoutVars>
          <dgm:chPref val="3"/>
        </dgm:presLayoutVars>
      </dgm:prSet>
      <dgm:spPr/>
    </dgm:pt>
    <dgm:pt modelId="{42FEA8FD-5BEE-4922-B4D4-26BADF860916}" type="pres">
      <dgm:prSet presAssocID="{D220A13B-8F1E-468F-82C7-70F47B586B66}" presName="rootConnector" presStyleLbl="node2" presStyleIdx="2" presStyleCnt="4"/>
      <dgm:spPr/>
    </dgm:pt>
    <dgm:pt modelId="{09694D4B-A9FB-4824-ADDB-ED96EB7988DA}" type="pres">
      <dgm:prSet presAssocID="{D220A13B-8F1E-468F-82C7-70F47B586B66}" presName="hierChild4" presStyleCnt="0"/>
      <dgm:spPr/>
    </dgm:pt>
    <dgm:pt modelId="{685492E5-E487-4FCC-A027-2CD6D00682E2}" type="pres">
      <dgm:prSet presAssocID="{A594F774-112B-44D2-A33E-59F8C7CE9675}" presName="Name37" presStyleLbl="parChTrans1D3" presStyleIdx="16" presStyleCnt="22"/>
      <dgm:spPr/>
    </dgm:pt>
    <dgm:pt modelId="{846DC0BB-8C59-466D-92BA-4BC9EB30519F}" type="pres">
      <dgm:prSet presAssocID="{5FA6B686-F16E-466C-BE3E-43ED16C6D8C6}" presName="hierRoot2" presStyleCnt="0">
        <dgm:presLayoutVars>
          <dgm:hierBranch val="init"/>
        </dgm:presLayoutVars>
      </dgm:prSet>
      <dgm:spPr/>
    </dgm:pt>
    <dgm:pt modelId="{6C21F93F-04F9-41C0-AE02-DD31844589FD}" type="pres">
      <dgm:prSet presAssocID="{5FA6B686-F16E-466C-BE3E-43ED16C6D8C6}" presName="rootComposite" presStyleCnt="0"/>
      <dgm:spPr/>
    </dgm:pt>
    <dgm:pt modelId="{4FAFC1BF-9ED1-4A9A-8A38-0142B92A2210}" type="pres">
      <dgm:prSet presAssocID="{5FA6B686-F16E-466C-BE3E-43ED16C6D8C6}" presName="rootText" presStyleLbl="node3" presStyleIdx="16" presStyleCnt="22">
        <dgm:presLayoutVars>
          <dgm:chPref val="3"/>
        </dgm:presLayoutVars>
      </dgm:prSet>
      <dgm:spPr/>
    </dgm:pt>
    <dgm:pt modelId="{3BDCA4B3-95F5-4122-B29D-B6898E1DC8AB}" type="pres">
      <dgm:prSet presAssocID="{5FA6B686-F16E-466C-BE3E-43ED16C6D8C6}" presName="rootConnector" presStyleLbl="node3" presStyleIdx="16" presStyleCnt="22"/>
      <dgm:spPr/>
    </dgm:pt>
    <dgm:pt modelId="{546A1D4F-3936-4EFF-A5F1-E273C84E0AF1}" type="pres">
      <dgm:prSet presAssocID="{5FA6B686-F16E-466C-BE3E-43ED16C6D8C6}" presName="hierChild4" presStyleCnt="0"/>
      <dgm:spPr/>
    </dgm:pt>
    <dgm:pt modelId="{FFCEBF8F-51CE-458A-BD72-485AD79F9DE5}" type="pres">
      <dgm:prSet presAssocID="{5FA6B686-F16E-466C-BE3E-43ED16C6D8C6}" presName="hierChild5" presStyleCnt="0"/>
      <dgm:spPr/>
    </dgm:pt>
    <dgm:pt modelId="{A922FF0C-AF4D-4C6A-83F8-6D8F9370D588}" type="pres">
      <dgm:prSet presAssocID="{AC81E237-49B8-4BC9-A64F-6FCEEA1A9167}" presName="Name37" presStyleLbl="parChTrans1D3" presStyleIdx="17" presStyleCnt="22"/>
      <dgm:spPr/>
    </dgm:pt>
    <dgm:pt modelId="{BF1C02E5-2EE8-4554-9A71-16AB32D82048}" type="pres">
      <dgm:prSet presAssocID="{C19A58EB-86F0-45EB-858F-394D828BCAF3}" presName="hierRoot2" presStyleCnt="0">
        <dgm:presLayoutVars>
          <dgm:hierBranch val="init"/>
        </dgm:presLayoutVars>
      </dgm:prSet>
      <dgm:spPr/>
    </dgm:pt>
    <dgm:pt modelId="{894064B0-042C-4C9F-A2F2-199ABA98D83E}" type="pres">
      <dgm:prSet presAssocID="{C19A58EB-86F0-45EB-858F-394D828BCAF3}" presName="rootComposite" presStyleCnt="0"/>
      <dgm:spPr/>
    </dgm:pt>
    <dgm:pt modelId="{8BD37282-C684-4FF1-96E3-602FA32C039B}" type="pres">
      <dgm:prSet presAssocID="{C19A58EB-86F0-45EB-858F-394D828BCAF3}" presName="rootText" presStyleLbl="node3" presStyleIdx="17" presStyleCnt="22">
        <dgm:presLayoutVars>
          <dgm:chPref val="3"/>
        </dgm:presLayoutVars>
      </dgm:prSet>
      <dgm:spPr/>
    </dgm:pt>
    <dgm:pt modelId="{8A9B8A04-97B2-4C21-870A-5CEF701FDB70}" type="pres">
      <dgm:prSet presAssocID="{C19A58EB-86F0-45EB-858F-394D828BCAF3}" presName="rootConnector" presStyleLbl="node3" presStyleIdx="17" presStyleCnt="22"/>
      <dgm:spPr/>
    </dgm:pt>
    <dgm:pt modelId="{8CECDD18-7238-46AE-8959-7BBCFAC49A00}" type="pres">
      <dgm:prSet presAssocID="{C19A58EB-86F0-45EB-858F-394D828BCAF3}" presName="hierChild4" presStyleCnt="0"/>
      <dgm:spPr/>
    </dgm:pt>
    <dgm:pt modelId="{215A45E4-67C2-4DC8-9797-3CDB480769B9}" type="pres">
      <dgm:prSet presAssocID="{C19A58EB-86F0-45EB-858F-394D828BCAF3}" presName="hierChild5" presStyleCnt="0"/>
      <dgm:spPr/>
    </dgm:pt>
    <dgm:pt modelId="{6B1D8C3D-5FDF-415B-A981-FE5657918B8F}" type="pres">
      <dgm:prSet presAssocID="{1A325FAF-7852-4621-A825-D19AB6FB42BA}" presName="Name37" presStyleLbl="parChTrans1D3" presStyleIdx="18" presStyleCnt="22"/>
      <dgm:spPr/>
    </dgm:pt>
    <dgm:pt modelId="{ABE97AE2-878A-426D-9C27-09680EB3F456}" type="pres">
      <dgm:prSet presAssocID="{48831D65-4DA9-4A69-B4E0-9DAB11DA54EE}" presName="hierRoot2" presStyleCnt="0">
        <dgm:presLayoutVars>
          <dgm:hierBranch val="init"/>
        </dgm:presLayoutVars>
      </dgm:prSet>
      <dgm:spPr/>
    </dgm:pt>
    <dgm:pt modelId="{BB4845B3-674E-4EA6-8D6C-8246974E5B8D}" type="pres">
      <dgm:prSet presAssocID="{48831D65-4DA9-4A69-B4E0-9DAB11DA54EE}" presName="rootComposite" presStyleCnt="0"/>
      <dgm:spPr/>
    </dgm:pt>
    <dgm:pt modelId="{C56D3BAF-B77D-4972-B609-B3A635ED9388}" type="pres">
      <dgm:prSet presAssocID="{48831D65-4DA9-4A69-B4E0-9DAB11DA54EE}" presName="rootText" presStyleLbl="node3" presStyleIdx="18" presStyleCnt="22">
        <dgm:presLayoutVars>
          <dgm:chPref val="3"/>
        </dgm:presLayoutVars>
      </dgm:prSet>
      <dgm:spPr/>
    </dgm:pt>
    <dgm:pt modelId="{0791DD61-4954-4B15-8EBE-F685297D5DD7}" type="pres">
      <dgm:prSet presAssocID="{48831D65-4DA9-4A69-B4E0-9DAB11DA54EE}" presName="rootConnector" presStyleLbl="node3" presStyleIdx="18" presStyleCnt="22"/>
      <dgm:spPr/>
    </dgm:pt>
    <dgm:pt modelId="{903DA0D7-84E3-4563-954B-885F3D386753}" type="pres">
      <dgm:prSet presAssocID="{48831D65-4DA9-4A69-B4E0-9DAB11DA54EE}" presName="hierChild4" presStyleCnt="0"/>
      <dgm:spPr/>
    </dgm:pt>
    <dgm:pt modelId="{2570642E-6630-4A94-B13D-A94D366B03B8}" type="pres">
      <dgm:prSet presAssocID="{48831D65-4DA9-4A69-B4E0-9DAB11DA54EE}" presName="hierChild5" presStyleCnt="0"/>
      <dgm:spPr/>
    </dgm:pt>
    <dgm:pt modelId="{F9721ED2-30BA-4072-BC74-1F304C8FC0E5}" type="pres">
      <dgm:prSet presAssocID="{D220A13B-8F1E-468F-82C7-70F47B586B66}" presName="hierChild5" presStyleCnt="0"/>
      <dgm:spPr/>
    </dgm:pt>
    <dgm:pt modelId="{C2EFA9A1-6CA6-4941-8A47-8DE384814D70}" type="pres">
      <dgm:prSet presAssocID="{1A8A9C50-863B-4B42-A67C-6E56A8BED035}" presName="Name37" presStyleLbl="parChTrans1D2" presStyleIdx="3" presStyleCnt="4"/>
      <dgm:spPr/>
    </dgm:pt>
    <dgm:pt modelId="{04CD6D5F-5B18-46E1-AE1A-763A71B91ADF}" type="pres">
      <dgm:prSet presAssocID="{B9C4C665-1F09-4978-805F-7F4AB198114A}" presName="hierRoot2" presStyleCnt="0">
        <dgm:presLayoutVars>
          <dgm:hierBranch val="init"/>
        </dgm:presLayoutVars>
      </dgm:prSet>
      <dgm:spPr/>
    </dgm:pt>
    <dgm:pt modelId="{AB727BE8-19AD-4B5F-AC95-5EEA03AECEDF}" type="pres">
      <dgm:prSet presAssocID="{B9C4C665-1F09-4978-805F-7F4AB198114A}" presName="rootComposite" presStyleCnt="0"/>
      <dgm:spPr/>
    </dgm:pt>
    <dgm:pt modelId="{B3E31A91-F33C-4639-BCEB-413A151701C6}" type="pres">
      <dgm:prSet presAssocID="{B9C4C665-1F09-4978-805F-7F4AB198114A}" presName="rootText" presStyleLbl="node2" presStyleIdx="3" presStyleCnt="4">
        <dgm:presLayoutVars>
          <dgm:chPref val="3"/>
        </dgm:presLayoutVars>
      </dgm:prSet>
      <dgm:spPr/>
    </dgm:pt>
    <dgm:pt modelId="{B9DF87EC-68ED-4CC6-A058-18BDC7942E84}" type="pres">
      <dgm:prSet presAssocID="{B9C4C665-1F09-4978-805F-7F4AB198114A}" presName="rootConnector" presStyleLbl="node2" presStyleIdx="3" presStyleCnt="4"/>
      <dgm:spPr/>
    </dgm:pt>
    <dgm:pt modelId="{D24FBB85-E511-4590-9D6F-12A29F347C98}" type="pres">
      <dgm:prSet presAssocID="{B9C4C665-1F09-4978-805F-7F4AB198114A}" presName="hierChild4" presStyleCnt="0"/>
      <dgm:spPr/>
    </dgm:pt>
    <dgm:pt modelId="{54C4BB8C-F6D0-4F87-B18F-75C017829760}" type="pres">
      <dgm:prSet presAssocID="{36518DDF-EB3A-4463-9644-A390E12666B5}" presName="Name37" presStyleLbl="parChTrans1D3" presStyleIdx="19" presStyleCnt="22"/>
      <dgm:spPr/>
    </dgm:pt>
    <dgm:pt modelId="{B816229D-AE20-4780-9917-0781DD7B221F}" type="pres">
      <dgm:prSet presAssocID="{27840723-E50D-4FD5-8C35-A96FB74A29C4}" presName="hierRoot2" presStyleCnt="0">
        <dgm:presLayoutVars>
          <dgm:hierBranch val="init"/>
        </dgm:presLayoutVars>
      </dgm:prSet>
      <dgm:spPr/>
    </dgm:pt>
    <dgm:pt modelId="{5B2FE90E-D75F-4C95-8206-F91D8E9F481C}" type="pres">
      <dgm:prSet presAssocID="{27840723-E50D-4FD5-8C35-A96FB74A29C4}" presName="rootComposite" presStyleCnt="0"/>
      <dgm:spPr/>
    </dgm:pt>
    <dgm:pt modelId="{11FD429F-9BC4-4863-9443-80F2AF89B2A3}" type="pres">
      <dgm:prSet presAssocID="{27840723-E50D-4FD5-8C35-A96FB74A29C4}" presName="rootText" presStyleLbl="node3" presStyleIdx="19" presStyleCnt="22">
        <dgm:presLayoutVars>
          <dgm:chPref val="3"/>
        </dgm:presLayoutVars>
      </dgm:prSet>
      <dgm:spPr/>
    </dgm:pt>
    <dgm:pt modelId="{98046607-DB45-41FD-8C6F-BF2AA90B9F97}" type="pres">
      <dgm:prSet presAssocID="{27840723-E50D-4FD5-8C35-A96FB74A29C4}" presName="rootConnector" presStyleLbl="node3" presStyleIdx="19" presStyleCnt="22"/>
      <dgm:spPr/>
    </dgm:pt>
    <dgm:pt modelId="{E876CA97-3C94-4E98-B1EC-666D8FD0C1D0}" type="pres">
      <dgm:prSet presAssocID="{27840723-E50D-4FD5-8C35-A96FB74A29C4}" presName="hierChild4" presStyleCnt="0"/>
      <dgm:spPr/>
    </dgm:pt>
    <dgm:pt modelId="{50DFC69F-87A7-4B3F-823E-C249A814A9A8}" type="pres">
      <dgm:prSet presAssocID="{27840723-E50D-4FD5-8C35-A96FB74A29C4}" presName="hierChild5" presStyleCnt="0"/>
      <dgm:spPr/>
    </dgm:pt>
    <dgm:pt modelId="{74772F9A-23A0-4C4D-8AD6-E7024D32B5BA}" type="pres">
      <dgm:prSet presAssocID="{B8366983-5FBE-4CF6-8F40-EF344E0205F1}" presName="Name37" presStyleLbl="parChTrans1D3" presStyleIdx="20" presStyleCnt="22"/>
      <dgm:spPr/>
    </dgm:pt>
    <dgm:pt modelId="{92EF0D6F-D56C-4F85-BA0B-36697B119A7B}" type="pres">
      <dgm:prSet presAssocID="{90A22878-B6E8-4635-97AA-7B6ABBA1902A}" presName="hierRoot2" presStyleCnt="0">
        <dgm:presLayoutVars>
          <dgm:hierBranch val="init"/>
        </dgm:presLayoutVars>
      </dgm:prSet>
      <dgm:spPr/>
    </dgm:pt>
    <dgm:pt modelId="{5EC25DCA-8EED-4869-AAEB-F41F2B2965BC}" type="pres">
      <dgm:prSet presAssocID="{90A22878-B6E8-4635-97AA-7B6ABBA1902A}" presName="rootComposite" presStyleCnt="0"/>
      <dgm:spPr/>
    </dgm:pt>
    <dgm:pt modelId="{92E984C5-60DA-4B4D-A7C7-AF061BF5E9C5}" type="pres">
      <dgm:prSet presAssocID="{90A22878-B6E8-4635-97AA-7B6ABBA1902A}" presName="rootText" presStyleLbl="node3" presStyleIdx="20" presStyleCnt="22">
        <dgm:presLayoutVars>
          <dgm:chPref val="3"/>
        </dgm:presLayoutVars>
      </dgm:prSet>
      <dgm:spPr/>
    </dgm:pt>
    <dgm:pt modelId="{21C97094-45C1-4913-B2BA-8993E5560C69}" type="pres">
      <dgm:prSet presAssocID="{90A22878-B6E8-4635-97AA-7B6ABBA1902A}" presName="rootConnector" presStyleLbl="node3" presStyleIdx="20" presStyleCnt="22"/>
      <dgm:spPr/>
    </dgm:pt>
    <dgm:pt modelId="{1A17609E-A38B-4E9A-9E4E-7050823C1DAD}" type="pres">
      <dgm:prSet presAssocID="{90A22878-B6E8-4635-97AA-7B6ABBA1902A}" presName="hierChild4" presStyleCnt="0"/>
      <dgm:spPr/>
    </dgm:pt>
    <dgm:pt modelId="{6A8BBC2F-AA50-408B-A246-C6CE3A199CAF}" type="pres">
      <dgm:prSet presAssocID="{90A22878-B6E8-4635-97AA-7B6ABBA1902A}" presName="hierChild5" presStyleCnt="0"/>
      <dgm:spPr/>
    </dgm:pt>
    <dgm:pt modelId="{2725CBCF-AA90-4774-8082-B7AC56D930C9}" type="pres">
      <dgm:prSet presAssocID="{2A83B644-E41F-4BA9-A694-D06520373CB4}" presName="Name37" presStyleLbl="parChTrans1D3" presStyleIdx="21" presStyleCnt="22"/>
      <dgm:spPr/>
    </dgm:pt>
    <dgm:pt modelId="{3FFBF635-32EE-47F6-8917-C68F1CF9B476}" type="pres">
      <dgm:prSet presAssocID="{85A44AD6-65C3-4058-81D7-7E42B2DD0F80}" presName="hierRoot2" presStyleCnt="0">
        <dgm:presLayoutVars>
          <dgm:hierBranch val="init"/>
        </dgm:presLayoutVars>
      </dgm:prSet>
      <dgm:spPr/>
    </dgm:pt>
    <dgm:pt modelId="{9F0C3BC6-92C5-474B-B37F-B0DF8DDB6323}" type="pres">
      <dgm:prSet presAssocID="{85A44AD6-65C3-4058-81D7-7E42B2DD0F80}" presName="rootComposite" presStyleCnt="0"/>
      <dgm:spPr/>
    </dgm:pt>
    <dgm:pt modelId="{107CF6F8-3607-4E5D-A586-77A3B6F2BB7F}" type="pres">
      <dgm:prSet presAssocID="{85A44AD6-65C3-4058-81D7-7E42B2DD0F80}" presName="rootText" presStyleLbl="node3" presStyleIdx="21" presStyleCnt="22">
        <dgm:presLayoutVars>
          <dgm:chPref val="3"/>
        </dgm:presLayoutVars>
      </dgm:prSet>
      <dgm:spPr/>
    </dgm:pt>
    <dgm:pt modelId="{BDB1747F-67B0-406E-AF2C-2678F824B4B1}" type="pres">
      <dgm:prSet presAssocID="{85A44AD6-65C3-4058-81D7-7E42B2DD0F80}" presName="rootConnector" presStyleLbl="node3" presStyleIdx="21" presStyleCnt="22"/>
      <dgm:spPr/>
    </dgm:pt>
    <dgm:pt modelId="{D11A2904-3EF5-4D32-BF5A-9CA86153A499}" type="pres">
      <dgm:prSet presAssocID="{85A44AD6-65C3-4058-81D7-7E42B2DD0F80}" presName="hierChild4" presStyleCnt="0"/>
      <dgm:spPr/>
    </dgm:pt>
    <dgm:pt modelId="{B829701C-E512-43F2-8434-2CEA7CEC7397}" type="pres">
      <dgm:prSet presAssocID="{85A44AD6-65C3-4058-81D7-7E42B2DD0F80}" presName="hierChild5" presStyleCnt="0"/>
      <dgm:spPr/>
    </dgm:pt>
    <dgm:pt modelId="{A3A54605-14C5-40E1-ADB9-1BEECB2C3FBE}" type="pres">
      <dgm:prSet presAssocID="{B9C4C665-1F09-4978-805F-7F4AB198114A}" presName="hierChild5" presStyleCnt="0"/>
      <dgm:spPr/>
    </dgm:pt>
    <dgm:pt modelId="{53CFD400-2BCD-4F65-AB9D-EA2837642738}" type="pres">
      <dgm:prSet presAssocID="{BDC5F6A9-EED0-4BBA-A953-80B17F5BCBF6}" presName="hierChild3" presStyleCnt="0"/>
      <dgm:spPr/>
    </dgm:pt>
    <dgm:pt modelId="{2FFA2B90-75C6-43E4-930A-FB3DD12CA688}" type="pres">
      <dgm:prSet presAssocID="{1061A7AF-D8D1-484E-A213-1F8EBF4F7643}" presName="hierRoot1" presStyleCnt="0">
        <dgm:presLayoutVars>
          <dgm:hierBranch val="init"/>
        </dgm:presLayoutVars>
      </dgm:prSet>
      <dgm:spPr/>
    </dgm:pt>
    <dgm:pt modelId="{C55CCADE-B40F-4A7C-98DB-334BAE8E7D0B}" type="pres">
      <dgm:prSet presAssocID="{1061A7AF-D8D1-484E-A213-1F8EBF4F7643}" presName="rootComposite1" presStyleCnt="0"/>
      <dgm:spPr/>
    </dgm:pt>
    <dgm:pt modelId="{CFE0302D-132A-40F6-9E58-C3DE72F6041B}" type="pres">
      <dgm:prSet presAssocID="{1061A7AF-D8D1-484E-A213-1F8EBF4F7643}" presName="rootText1" presStyleLbl="node0" presStyleIdx="1" presStyleCnt="3" custLinFactX="74977" custLinFactY="40607" custLinFactNeighborX="100000" custLinFactNeighborY="100000">
        <dgm:presLayoutVars>
          <dgm:chPref val="3"/>
        </dgm:presLayoutVars>
      </dgm:prSet>
      <dgm:spPr/>
    </dgm:pt>
    <dgm:pt modelId="{B0387FB0-5BE2-4445-9B06-67E2E204A777}" type="pres">
      <dgm:prSet presAssocID="{1061A7AF-D8D1-484E-A213-1F8EBF4F7643}" presName="rootConnector1" presStyleLbl="node1" presStyleIdx="0" presStyleCnt="0"/>
      <dgm:spPr/>
    </dgm:pt>
    <dgm:pt modelId="{7E4DF024-BF16-4D48-BB87-84444AD61651}" type="pres">
      <dgm:prSet presAssocID="{1061A7AF-D8D1-484E-A213-1F8EBF4F7643}" presName="hierChild2" presStyleCnt="0"/>
      <dgm:spPr/>
    </dgm:pt>
    <dgm:pt modelId="{A47D5A6A-3F40-4DB8-BE84-DCAC790668CC}" type="pres">
      <dgm:prSet presAssocID="{1061A7AF-D8D1-484E-A213-1F8EBF4F7643}" presName="hierChild3" presStyleCnt="0"/>
      <dgm:spPr/>
    </dgm:pt>
    <dgm:pt modelId="{D276A2AC-52DA-4408-890D-28472DEBA4D3}" type="pres">
      <dgm:prSet presAssocID="{E524F649-451F-421E-A0EE-633E69CFA4DD}" presName="hierRoot1" presStyleCnt="0">
        <dgm:presLayoutVars>
          <dgm:hierBranch val="init"/>
        </dgm:presLayoutVars>
      </dgm:prSet>
      <dgm:spPr/>
    </dgm:pt>
    <dgm:pt modelId="{7C9679A5-9FAE-42D2-A4DB-48F245FFC829}" type="pres">
      <dgm:prSet presAssocID="{E524F649-451F-421E-A0EE-633E69CFA4DD}" presName="rootComposite1" presStyleCnt="0"/>
      <dgm:spPr/>
    </dgm:pt>
    <dgm:pt modelId="{E0343302-7065-40EA-B702-53B4E4421E7A}" type="pres">
      <dgm:prSet presAssocID="{E524F649-451F-421E-A0EE-633E69CFA4DD}" presName="rootText1" presStyleLbl="node0" presStyleIdx="2" presStyleCnt="3" custLinFactX="74977" custLinFactY="40607" custLinFactNeighborX="100000" custLinFactNeighborY="100000">
        <dgm:presLayoutVars>
          <dgm:chPref val="3"/>
        </dgm:presLayoutVars>
      </dgm:prSet>
      <dgm:spPr/>
    </dgm:pt>
    <dgm:pt modelId="{4034CE09-C5EC-493E-8E31-97A9F25979A0}" type="pres">
      <dgm:prSet presAssocID="{E524F649-451F-421E-A0EE-633E69CFA4DD}" presName="rootConnector1" presStyleLbl="node1" presStyleIdx="0" presStyleCnt="0"/>
      <dgm:spPr/>
    </dgm:pt>
    <dgm:pt modelId="{A3E3C014-7FA5-4780-9C6C-EA97E40DCD5E}" type="pres">
      <dgm:prSet presAssocID="{E524F649-451F-421E-A0EE-633E69CFA4DD}" presName="hierChild2" presStyleCnt="0"/>
      <dgm:spPr/>
    </dgm:pt>
    <dgm:pt modelId="{2F9495EE-B173-42E3-9A2E-10D85585F627}" type="pres">
      <dgm:prSet presAssocID="{E524F649-451F-421E-A0EE-633E69CFA4DD}" presName="hierChild3" presStyleCnt="0"/>
      <dgm:spPr/>
    </dgm:pt>
  </dgm:ptLst>
  <dgm:cxnLst>
    <dgm:cxn modelId="{FB9EEC00-EF56-41EC-AE0C-606EC459B3D9}" type="presOf" srcId="{CC5A209D-1098-4CF6-9C19-CDBB138D5A53}" destId="{D99DC523-A0FB-4625-8353-E7BE586ED17F}" srcOrd="0" destOrd="0" presId="urn:microsoft.com/office/officeart/2005/8/layout/orgChart1"/>
    <dgm:cxn modelId="{9845CD07-49DE-40A4-8FBE-04B36666B585}" srcId="{D220A13B-8F1E-468F-82C7-70F47B586B66}" destId="{48831D65-4DA9-4A69-B4E0-9DAB11DA54EE}" srcOrd="2" destOrd="0" parTransId="{1A325FAF-7852-4621-A825-D19AB6FB42BA}" sibTransId="{D05A3C05-2C64-4851-8351-A1658758E122}"/>
    <dgm:cxn modelId="{C9753708-9D97-4F8B-B2B9-552699B767CB}" type="presOf" srcId="{1A325FAF-7852-4621-A825-D19AB6FB42BA}" destId="{6B1D8C3D-5FDF-415B-A981-FE5657918B8F}" srcOrd="0" destOrd="0" presId="urn:microsoft.com/office/officeart/2005/8/layout/orgChart1"/>
    <dgm:cxn modelId="{771EDA08-454A-4E37-A889-762A4ECB687C}" type="presOf" srcId="{C19A58EB-86F0-45EB-858F-394D828BCAF3}" destId="{8BD37282-C684-4FF1-96E3-602FA32C039B}" srcOrd="0" destOrd="0" presId="urn:microsoft.com/office/officeart/2005/8/layout/orgChart1"/>
    <dgm:cxn modelId="{DF4FBE09-1141-4F78-9662-4DD8B442A072}" srcId="{7C456F81-39E8-4A49-BB92-6D9710B9C081}" destId="{E524F649-451F-421E-A0EE-633E69CFA4DD}" srcOrd="2" destOrd="0" parTransId="{5C069735-35AB-4D26-B0ED-23AF5C4CECC8}" sibTransId="{9B756C12-8DFD-46C7-9E56-216D88F694FB}"/>
    <dgm:cxn modelId="{57BF7E0B-0242-4B8B-A767-32EB02749F9D}" type="presOf" srcId="{D220A13B-8F1E-468F-82C7-70F47B586B66}" destId="{42FEA8FD-5BEE-4922-B4D4-26BADF860916}" srcOrd="1" destOrd="0" presId="urn:microsoft.com/office/officeart/2005/8/layout/orgChart1"/>
    <dgm:cxn modelId="{05580011-62AE-4E57-8F1C-2D2EA7824891}" type="presOf" srcId="{A812BC8D-DA5A-4E88-BB70-FA370E0F0C5B}" destId="{7BDAD112-6EE8-4EDB-9ECE-11C0741097FC}" srcOrd="0" destOrd="0" presId="urn:microsoft.com/office/officeart/2005/8/layout/orgChart1"/>
    <dgm:cxn modelId="{45FE8611-622D-45F0-82F5-8CC7130B9633}" type="presOf" srcId="{D42CCFC8-F48A-4ED8-B845-DE2B6E08FF75}" destId="{80165183-E835-40B7-98A6-B222C4B774CE}" srcOrd="0" destOrd="0" presId="urn:microsoft.com/office/officeart/2005/8/layout/orgChart1"/>
    <dgm:cxn modelId="{54ECCC12-2938-4F9D-8145-A463D06D201E}" type="presOf" srcId="{C19A58EB-86F0-45EB-858F-394D828BCAF3}" destId="{8A9B8A04-97B2-4C21-870A-5CEF701FDB70}" srcOrd="1" destOrd="0" presId="urn:microsoft.com/office/officeart/2005/8/layout/orgChart1"/>
    <dgm:cxn modelId="{ED976C17-2991-42D1-BD5F-7CE8DA9C11B4}" type="presOf" srcId="{78E7B7CD-E3AF-49F3-A289-06D2ADA2AE78}" destId="{8D44C781-567E-44BC-BAB9-8536F6BDB1C7}" srcOrd="0" destOrd="0" presId="urn:microsoft.com/office/officeart/2005/8/layout/orgChart1"/>
    <dgm:cxn modelId="{1D110419-98B4-4F96-A4C9-E914A651F496}" type="presOf" srcId="{E524F649-451F-421E-A0EE-633E69CFA4DD}" destId="{E0343302-7065-40EA-B702-53B4E4421E7A}" srcOrd="0" destOrd="0" presId="urn:microsoft.com/office/officeart/2005/8/layout/orgChart1"/>
    <dgm:cxn modelId="{8748311B-8825-4E15-AD92-00B67A4B7FFF}" type="presOf" srcId="{7AC60666-22AF-48BA-A18E-BD93B55C4E89}" destId="{BE448B71-95F7-4C01-B1EF-656585C1DE9F}" srcOrd="1" destOrd="0" presId="urn:microsoft.com/office/officeart/2005/8/layout/orgChart1"/>
    <dgm:cxn modelId="{5C359D1F-27F3-4674-90FE-29C363CC3337}" srcId="{E4B4F9F4-D240-4EF9-8A3E-0060574F32FE}" destId="{D42CCFC8-F48A-4ED8-B845-DE2B6E08FF75}" srcOrd="0" destOrd="0" parTransId="{38D42633-C57A-4D70-8EAE-A8D972120E52}" sibTransId="{8B3EFE01-C5E1-4A4E-82AA-4432C046113E}"/>
    <dgm:cxn modelId="{77D44221-0451-4097-87F2-DB5F38BF4D7D}" type="presOf" srcId="{686EE54E-2CC1-4ABF-B221-047AC1ECAA71}" destId="{E4707A64-0BF8-4865-8496-3A37C893985E}" srcOrd="0" destOrd="0" presId="urn:microsoft.com/office/officeart/2005/8/layout/orgChart1"/>
    <dgm:cxn modelId="{FF16FA22-73CF-42B7-9C66-8C24460F939C}" type="presOf" srcId="{D0D9162D-5DD8-44DA-985A-4D100C5CABFF}" destId="{AED935A1-DBC9-406D-AFDB-16579953553F}" srcOrd="1" destOrd="0" presId="urn:microsoft.com/office/officeart/2005/8/layout/orgChart1"/>
    <dgm:cxn modelId="{28DB2323-E90B-46B7-A46E-3DD1E9AA29D2}" type="presOf" srcId="{98685474-342B-4776-925B-4D5684551333}" destId="{C9DED0BE-5CF6-4D57-9E41-34DA0ACE07A9}" srcOrd="1" destOrd="0" presId="urn:microsoft.com/office/officeart/2005/8/layout/orgChart1"/>
    <dgm:cxn modelId="{4AC29424-9192-4782-805B-71E615060223}" type="presOf" srcId="{B8366983-5FBE-4CF6-8F40-EF344E0205F1}" destId="{74772F9A-23A0-4C4D-8AD6-E7024D32B5BA}" srcOrd="0" destOrd="0" presId="urn:microsoft.com/office/officeart/2005/8/layout/orgChart1"/>
    <dgm:cxn modelId="{DB1B3329-F965-4A7C-A92B-4CCC1874A51A}" type="presOf" srcId="{B13AEDA5-081A-4B41-82EF-EE7883D62716}" destId="{7AE8ED15-1329-4C7F-868A-5A6EF10B3337}" srcOrd="0" destOrd="0" presId="urn:microsoft.com/office/officeart/2005/8/layout/orgChart1"/>
    <dgm:cxn modelId="{59A6072D-5DD7-4A8B-85E2-F94A9FB637DC}" type="presOf" srcId="{B01185A3-7992-4FF9-825D-25231ACF59CB}" destId="{52D14353-F516-4DF7-926E-8A1F0B1AF587}" srcOrd="0" destOrd="0" presId="urn:microsoft.com/office/officeart/2005/8/layout/orgChart1"/>
    <dgm:cxn modelId="{DC72A22E-D7EB-4282-8228-94C55AD0C97C}" type="presOf" srcId="{B9C4C665-1F09-4978-805F-7F4AB198114A}" destId="{B3E31A91-F33C-4639-BCEB-413A151701C6}" srcOrd="0" destOrd="0" presId="urn:microsoft.com/office/officeart/2005/8/layout/orgChart1"/>
    <dgm:cxn modelId="{47908C2F-6272-46D0-AC4D-618D21AF5252}" type="presOf" srcId="{85A44AD6-65C3-4058-81D7-7E42B2DD0F80}" destId="{107CF6F8-3607-4E5D-A586-77A3B6F2BB7F}" srcOrd="0" destOrd="0" presId="urn:microsoft.com/office/officeart/2005/8/layout/orgChart1"/>
    <dgm:cxn modelId="{5A6CB931-D467-43C1-89F4-23A9640D3BE4}" type="presOf" srcId="{A8104150-7D45-46F6-88C9-CB221FE9A231}" destId="{5B814F46-9E5C-4F68-B4EC-2E5CCC80D278}" srcOrd="1" destOrd="0" presId="urn:microsoft.com/office/officeart/2005/8/layout/orgChart1"/>
    <dgm:cxn modelId="{D0331A33-A7C6-43C5-BA90-1C76AC45C423}" type="presOf" srcId="{7A822263-1CA6-4B8A-9D05-C06B4361E3BF}" destId="{2CAEAFB1-5FAB-4C69-A903-8041026D7438}" srcOrd="1" destOrd="0" presId="urn:microsoft.com/office/officeart/2005/8/layout/orgChart1"/>
    <dgm:cxn modelId="{AAA79B33-72FC-4561-9E29-F10D9BEBA7AF}" type="presOf" srcId="{A405F5A1-D844-4B02-86E3-338731F5988B}" destId="{BA26E419-F17E-4A9E-9064-C383D5C7FB4E}" srcOrd="0" destOrd="0" presId="urn:microsoft.com/office/officeart/2005/8/layout/orgChart1"/>
    <dgm:cxn modelId="{EC26F235-FB12-4709-84B5-E6316B1F2926}" type="presOf" srcId="{DB2F9BFA-637D-4F48-8548-CECDA742F819}" destId="{4D2A5E80-A074-4010-9B20-BF4F65F2058D}" srcOrd="0" destOrd="0" presId="urn:microsoft.com/office/officeart/2005/8/layout/orgChart1"/>
    <dgm:cxn modelId="{11151937-7EF6-443E-8CF0-1C3DBF9393DE}" srcId="{AE4AEB44-270D-4A4A-986A-D0C7568AB1FF}" destId="{7AC60666-22AF-48BA-A18E-BD93B55C4E89}" srcOrd="1" destOrd="0" parTransId="{B5C7F105-394D-4F3A-AF40-9038972CC8F1}" sibTransId="{DD0C226F-A833-4F97-942C-64A3B2738CCE}"/>
    <dgm:cxn modelId="{9FE2073C-FADC-498D-99C2-8A4BF9628357}" type="presOf" srcId="{98685474-342B-4776-925B-4D5684551333}" destId="{997E4C9A-B4F3-4755-8B1F-D7881B3DF5B8}" srcOrd="0" destOrd="0" presId="urn:microsoft.com/office/officeart/2005/8/layout/orgChart1"/>
    <dgm:cxn modelId="{3953733D-82DF-4521-BA81-692391B345BE}" type="presOf" srcId="{FFA5421F-27D0-4DFF-8F9B-265F3DEC0563}" destId="{A72C8DE6-A6EB-42A1-AAB2-C7A5552D29F0}" srcOrd="0" destOrd="0" presId="urn:microsoft.com/office/officeart/2005/8/layout/orgChart1"/>
    <dgm:cxn modelId="{129B663F-E167-465B-BE79-9E57E59D811B}" type="presOf" srcId="{36518DDF-EB3A-4463-9644-A390E12666B5}" destId="{54C4BB8C-F6D0-4F87-B18F-75C017829760}" srcOrd="0" destOrd="0" presId="urn:microsoft.com/office/officeart/2005/8/layout/orgChart1"/>
    <dgm:cxn modelId="{9907F63F-2D0E-49BA-AF99-ECD91167A4E6}" srcId="{BDC5F6A9-EED0-4BBA-A953-80B17F5BCBF6}" destId="{AE4AEB44-270D-4A4A-986A-D0C7568AB1FF}" srcOrd="1" destOrd="0" parTransId="{CC5A209D-1098-4CF6-9C19-CDBB138D5A53}" sibTransId="{E0121813-ECA7-4956-955D-CB5080D47BD4}"/>
    <dgm:cxn modelId="{6E0E2A5C-B857-4E1D-9155-82CF1B6D71C4}" srcId="{B9C4C665-1F09-4978-805F-7F4AB198114A}" destId="{27840723-E50D-4FD5-8C35-A96FB74A29C4}" srcOrd="0" destOrd="0" parTransId="{36518DDF-EB3A-4463-9644-A390E12666B5}" sibTransId="{80D9B351-8A3B-4794-8BF5-25ECAE832752}"/>
    <dgm:cxn modelId="{C6CE855C-4C32-41EC-8C0D-EDBBB1C3F3B0}" type="presOf" srcId="{48831D65-4DA9-4A69-B4E0-9DAB11DA54EE}" destId="{C56D3BAF-B77D-4972-B609-B3A635ED9388}" srcOrd="0" destOrd="0" presId="urn:microsoft.com/office/officeart/2005/8/layout/orgChart1"/>
    <dgm:cxn modelId="{FF2BC25C-F041-4CD1-B8E0-D9AE1F008C03}" type="presOf" srcId="{4B295F66-D8B2-4E80-83B7-6EAFEC8D3D1B}" destId="{7604AD31-352A-44F8-A295-429A89BCAB11}" srcOrd="0" destOrd="0" presId="urn:microsoft.com/office/officeart/2005/8/layout/orgChart1"/>
    <dgm:cxn modelId="{C9E09660-A590-4ACF-BDC1-A185639222A3}" srcId="{AE4AEB44-270D-4A4A-986A-D0C7568AB1FF}" destId="{B01185A3-7992-4FF9-825D-25231ACF59CB}" srcOrd="7" destOrd="0" parTransId="{94FA6FDE-0994-41A3-BC3E-ACD49C879BB4}" sibTransId="{5E7470EB-C228-466A-A132-6AF9A49CACE4}"/>
    <dgm:cxn modelId="{C34F7163-1E94-46E5-97A7-36F8B9AC099B}" type="presOf" srcId="{7A822263-1CA6-4B8A-9D05-C06B4361E3BF}" destId="{7ACDBADC-81D5-42AD-8E9A-0C6426EACE37}" srcOrd="0" destOrd="0" presId="urn:microsoft.com/office/officeart/2005/8/layout/orgChart1"/>
    <dgm:cxn modelId="{C590D443-5EAE-469A-AA87-7D8D1E10087A}" srcId="{E4B4F9F4-D240-4EF9-8A3E-0060574F32FE}" destId="{28EBC714-E5E5-4238-BC32-9DA37C4B6470}" srcOrd="7" destOrd="0" parTransId="{E37A84A8-E4B7-4F72-BCC8-E17B1C733450}" sibTransId="{F6285033-12DD-40D9-AB97-DC0B57632465}"/>
    <dgm:cxn modelId="{1404D845-D3A7-4A27-AC19-B5790510A0AB}" srcId="{B9C4C665-1F09-4978-805F-7F4AB198114A}" destId="{90A22878-B6E8-4635-97AA-7B6ABBA1902A}" srcOrd="1" destOrd="0" parTransId="{B8366983-5FBE-4CF6-8F40-EF344E0205F1}" sibTransId="{CBA96803-E945-4979-B40F-7A142ECA9F2B}"/>
    <dgm:cxn modelId="{08507046-CE55-465B-8E58-E17601D970D8}" srcId="{BDC5F6A9-EED0-4BBA-A953-80B17F5BCBF6}" destId="{B9C4C665-1F09-4978-805F-7F4AB198114A}" srcOrd="3" destOrd="0" parTransId="{1A8A9C50-863B-4B42-A67C-6E56A8BED035}" sibTransId="{849C8801-D575-4E9F-A6CE-1E0B345D788F}"/>
    <dgm:cxn modelId="{593FC268-2686-4E4F-B341-D05083646E8E}" srcId="{AE4AEB44-270D-4A4A-986A-D0C7568AB1FF}" destId="{7A822263-1CA6-4B8A-9D05-C06B4361E3BF}" srcOrd="5" destOrd="0" parTransId="{A405F5A1-D844-4B02-86E3-338731F5988B}" sibTransId="{644227C6-EE2D-4B33-B55A-D2A42329681B}"/>
    <dgm:cxn modelId="{A81C3649-30D5-46FE-A300-38AC6ED3D5A7}" type="presOf" srcId="{5F3259C2-5AB8-4CE8-AD19-157A3BE11482}" destId="{738746C3-CC92-43F9-A66B-D5D3C525A0C7}" srcOrd="1" destOrd="0" presId="urn:microsoft.com/office/officeart/2005/8/layout/orgChart1"/>
    <dgm:cxn modelId="{C10B526C-3490-4FE6-A932-50EC2148772F}" type="presOf" srcId="{27840723-E50D-4FD5-8C35-A96FB74A29C4}" destId="{98046607-DB45-41FD-8C6F-BF2AA90B9F97}" srcOrd="1" destOrd="0" presId="urn:microsoft.com/office/officeart/2005/8/layout/orgChart1"/>
    <dgm:cxn modelId="{FED8F36C-C934-4461-BB7B-1F3C215AA364}" type="presOf" srcId="{E4B4F9F4-D240-4EF9-8A3E-0060574F32FE}" destId="{E58EEF2C-ECD0-400C-98A2-66555E0AE16C}" srcOrd="1" destOrd="0" presId="urn:microsoft.com/office/officeart/2005/8/layout/orgChart1"/>
    <dgm:cxn modelId="{0665E46F-0BE2-4311-ABA3-136068C56D0B}" type="presOf" srcId="{1061A7AF-D8D1-484E-A213-1F8EBF4F7643}" destId="{CFE0302D-132A-40F6-9E58-C3DE72F6041B}" srcOrd="0" destOrd="0" presId="urn:microsoft.com/office/officeart/2005/8/layout/orgChart1"/>
    <dgm:cxn modelId="{3DD15F50-DCF1-482A-A0E0-C1AF57438C4E}" type="presOf" srcId="{B13AEDA5-081A-4B41-82EF-EE7883D62716}" destId="{2BA97663-F3C6-4940-B0EB-1C0F34ED6C41}" srcOrd="1" destOrd="0" presId="urn:microsoft.com/office/officeart/2005/8/layout/orgChart1"/>
    <dgm:cxn modelId="{6FFABA72-BCD2-4945-9DB7-9D8ED2785681}" type="presOf" srcId="{BDC5F6A9-EED0-4BBA-A953-80B17F5BCBF6}" destId="{B2CF8861-D546-48BF-8605-A0B0689F336C}" srcOrd="1" destOrd="0" presId="urn:microsoft.com/office/officeart/2005/8/layout/orgChart1"/>
    <dgm:cxn modelId="{BD4BBF54-DAF5-46C9-81B3-795ADEBF2828}" type="presOf" srcId="{2A83B644-E41F-4BA9-A694-D06520373CB4}" destId="{2725CBCF-AA90-4774-8082-B7AC56D930C9}" srcOrd="0" destOrd="0" presId="urn:microsoft.com/office/officeart/2005/8/layout/orgChart1"/>
    <dgm:cxn modelId="{87BE8155-D3B3-4E48-AE98-BBD06A045B0F}" srcId="{7C456F81-39E8-4A49-BB92-6D9710B9C081}" destId="{BDC5F6A9-EED0-4BBA-A953-80B17F5BCBF6}" srcOrd="0" destOrd="0" parTransId="{4782F7E2-57BE-4540-80EC-6A607EC520E6}" sibTransId="{455E78A3-1736-4520-A79C-0E94B2CA6DE7}"/>
    <dgm:cxn modelId="{C1F58855-C543-4E73-BFBD-D0F4D21F77AB}" srcId="{7C456F81-39E8-4A49-BB92-6D9710B9C081}" destId="{1061A7AF-D8D1-484E-A213-1F8EBF4F7643}" srcOrd="1" destOrd="0" parTransId="{DD689534-0215-49CE-B5E6-C9F87A06F5A0}" sibTransId="{80D000EA-B218-40DE-9320-25519A99379E}"/>
    <dgm:cxn modelId="{66477256-4B77-4837-B9A3-A5D85FEE9477}" type="presOf" srcId="{28EBC714-E5E5-4238-BC32-9DA37C4B6470}" destId="{919EC09E-513E-4304-BCC8-711A5FE6DBD0}" srcOrd="0" destOrd="0" presId="urn:microsoft.com/office/officeart/2005/8/layout/orgChart1"/>
    <dgm:cxn modelId="{45728956-CE79-417D-AC3F-81DA48CFCF3E}" srcId="{AE4AEB44-270D-4A4A-986A-D0C7568AB1FF}" destId="{98685474-342B-4776-925B-4D5684551333}" srcOrd="4" destOrd="0" parTransId="{1C5B7485-BE1A-44CA-8B64-16EDA3A4FA5C}" sibTransId="{58ACF02C-C437-4EC2-A187-AFAD8EBFEE3C}"/>
    <dgm:cxn modelId="{E5D09857-B4EF-4707-B213-99FD17D3AFC5}" type="presOf" srcId="{7AC60666-22AF-48BA-A18E-BD93B55C4E89}" destId="{45452F55-DA4B-4CF1-B8C9-9D131B82C15F}" srcOrd="0" destOrd="0" presId="urn:microsoft.com/office/officeart/2005/8/layout/orgChart1"/>
    <dgm:cxn modelId="{1CF72A78-5813-45EE-8D1C-65E88AA18EBD}" type="presOf" srcId="{A594F774-112B-44D2-A33E-59F8C7CE9675}" destId="{685492E5-E487-4FCC-A027-2CD6D00682E2}" srcOrd="0" destOrd="0" presId="urn:microsoft.com/office/officeart/2005/8/layout/orgChart1"/>
    <dgm:cxn modelId="{4093047D-AC43-4041-B59A-274A03AF3376}" type="presOf" srcId="{436966C0-1DA5-462C-A792-C39AB9A2902C}" destId="{04855EF9-FF16-4EFE-927E-96BB0C8C3828}" srcOrd="0" destOrd="0" presId="urn:microsoft.com/office/officeart/2005/8/layout/orgChart1"/>
    <dgm:cxn modelId="{F596827E-8E72-49BE-A2A4-167F2B9CF39A}" type="presOf" srcId="{5F3259C2-5AB8-4CE8-AD19-157A3BE11482}" destId="{19F09E86-F0DE-4C4A-972F-B66FAD4CC4D9}" srcOrd="0" destOrd="0" presId="urn:microsoft.com/office/officeart/2005/8/layout/orgChart1"/>
    <dgm:cxn modelId="{EFDEB780-1591-491E-A7E2-B41675D9197E}" type="presOf" srcId="{D220A13B-8F1E-468F-82C7-70F47B586B66}" destId="{C211D1E2-A010-4A2B-86E8-0F02FDA687CB}" srcOrd="0" destOrd="0" presId="urn:microsoft.com/office/officeart/2005/8/layout/orgChart1"/>
    <dgm:cxn modelId="{3E039B82-1FF2-4EB0-BB1B-ACDF5975B525}" srcId="{AE4AEB44-270D-4A4A-986A-D0C7568AB1FF}" destId="{B13AEDA5-081A-4B41-82EF-EE7883D62716}" srcOrd="2" destOrd="0" parTransId="{93BA14B6-8766-4789-AFCE-C7843D9F6784}" sibTransId="{7A06B3A3-7C10-4FBB-8F55-AD8948F4059E}"/>
    <dgm:cxn modelId="{9986E483-6057-45E8-BA18-E267B86AEE12}" type="presOf" srcId="{FFA5421F-27D0-4DFF-8F9B-265F3DEC0563}" destId="{1FD75344-0537-4D87-B1DA-06763D357446}" srcOrd="1" destOrd="0" presId="urn:microsoft.com/office/officeart/2005/8/layout/orgChart1"/>
    <dgm:cxn modelId="{3BD70085-C956-4E0C-9FDB-7652DB18BA3E}" type="presOf" srcId="{CD9B72B4-5551-4360-B639-5D4178A91D70}" destId="{8EFCE613-0888-43C3-A88B-CA08106F9803}" srcOrd="0" destOrd="0" presId="urn:microsoft.com/office/officeart/2005/8/layout/orgChart1"/>
    <dgm:cxn modelId="{7395E087-5E9E-4B5E-8B81-176E30EFC0D8}" type="presOf" srcId="{BAD3CAEA-CF56-44D1-A383-B635FB82C9B1}" destId="{A4244743-949B-4E33-9C18-EBE8F71B6A6E}" srcOrd="1" destOrd="0" presId="urn:microsoft.com/office/officeart/2005/8/layout/orgChart1"/>
    <dgm:cxn modelId="{137F548E-B11D-4DC3-982A-F02E3452C145}" type="presOf" srcId="{D0D9162D-5DD8-44DA-985A-4D100C5CABFF}" destId="{0759E7C1-FD3B-4E2F-8000-FB1BCCDF85E1}" srcOrd="0" destOrd="0" presId="urn:microsoft.com/office/officeart/2005/8/layout/orgChart1"/>
    <dgm:cxn modelId="{2CDE4B8F-A7C8-46C2-89F5-770E704A1111}" srcId="{AE4AEB44-270D-4A4A-986A-D0C7568AB1FF}" destId="{CD9B72B4-5551-4360-B639-5D4178A91D70}" srcOrd="3" destOrd="0" parTransId="{DF961A74-B5F5-4B93-9FA9-DE5DA87D9BD2}" sibTransId="{E688171C-6AAA-44C2-B7ED-6D8EBAFA0E2E}"/>
    <dgm:cxn modelId="{E3912890-C6E8-479F-A166-0040526C5142}" type="presOf" srcId="{5CDFC6AB-AF9B-4F4B-8DB6-18F5619B643C}" destId="{7B02EBED-9903-4F58-9317-86CEF8CC4CF2}" srcOrd="0" destOrd="0" presId="urn:microsoft.com/office/officeart/2005/8/layout/orgChart1"/>
    <dgm:cxn modelId="{9683C793-4705-41B7-BDC8-A300448ED32A}" type="presOf" srcId="{CD9B72B4-5551-4360-B639-5D4178A91D70}" destId="{1F684BA0-1660-4D79-9FD9-76528EB8C18D}" srcOrd="1" destOrd="0" presId="urn:microsoft.com/office/officeart/2005/8/layout/orgChart1"/>
    <dgm:cxn modelId="{B69A4097-A50F-4DFB-B543-965C79899681}" type="presOf" srcId="{E37A84A8-E4B7-4F72-BCC8-E17B1C733450}" destId="{5F14F16D-D16E-4658-9C0A-9D2A247A5CEC}" srcOrd="0" destOrd="0" presId="urn:microsoft.com/office/officeart/2005/8/layout/orgChart1"/>
    <dgm:cxn modelId="{19382A99-1842-430F-9AE6-0E085447E18E}" srcId="{E4B4F9F4-D240-4EF9-8A3E-0060574F32FE}" destId="{5F3259C2-5AB8-4CE8-AD19-157A3BE11482}" srcOrd="2" destOrd="0" parTransId="{32034CE2-CECF-4285-8EBB-7E744E5540F9}" sibTransId="{99130543-5A7A-4123-962A-F3F7266604F7}"/>
    <dgm:cxn modelId="{AFD7D19B-1FDF-4CA1-82F0-AB78F6CDE9C1}" type="presOf" srcId="{27840723-E50D-4FD5-8C35-A96FB74A29C4}" destId="{11FD429F-9BC4-4863-9443-80F2AF89B2A3}" srcOrd="0" destOrd="0" presId="urn:microsoft.com/office/officeart/2005/8/layout/orgChart1"/>
    <dgm:cxn modelId="{CACED99C-E813-4C49-B29B-BB81C6F10DF4}" type="presOf" srcId="{BAD3CAEA-CF56-44D1-A383-B635FB82C9B1}" destId="{443F4F1D-9945-4AE0-9AD3-A7136D025838}" srcOrd="0" destOrd="0" presId="urn:microsoft.com/office/officeart/2005/8/layout/orgChart1"/>
    <dgm:cxn modelId="{173B7EA1-3A95-4315-86C5-9DC4078DD210}" srcId="{D220A13B-8F1E-468F-82C7-70F47B586B66}" destId="{C19A58EB-86F0-45EB-858F-394D828BCAF3}" srcOrd="1" destOrd="0" parTransId="{AC81E237-49B8-4BC9-A64F-6FCEEA1A9167}" sibTransId="{04E608F8-F4BF-4D01-AABF-08120FE7D94B}"/>
    <dgm:cxn modelId="{0C133FA2-15C7-4F19-BBF8-603A9899603A}" type="presOf" srcId="{AE4AEB44-270D-4A4A-986A-D0C7568AB1FF}" destId="{174DBD7B-676F-40CB-A854-FFEAC812914A}" srcOrd="1" destOrd="0" presId="urn:microsoft.com/office/officeart/2005/8/layout/orgChart1"/>
    <dgm:cxn modelId="{2F4FB6A8-8178-4DB8-8E6A-2DC7361D0B0D}" type="presOf" srcId="{E524F649-451F-421E-A0EE-633E69CFA4DD}" destId="{4034CE09-C5EC-493E-8E31-97A9F25979A0}" srcOrd="1" destOrd="0" presId="urn:microsoft.com/office/officeart/2005/8/layout/orgChart1"/>
    <dgm:cxn modelId="{B302E2A8-4B51-4083-B190-2B0EDF1CE544}" type="presOf" srcId="{B5C7F105-394D-4F3A-AF40-9038972CC8F1}" destId="{F69EEDA8-9567-42CC-9112-111738129BE7}" srcOrd="0" destOrd="0" presId="urn:microsoft.com/office/officeart/2005/8/layout/orgChart1"/>
    <dgm:cxn modelId="{A59580AA-C00E-47B6-8FE8-5519B9FE45BF}" type="presOf" srcId="{90A22878-B6E8-4635-97AA-7B6ABBA1902A}" destId="{21C97094-45C1-4913-B2BA-8993E5560C69}" srcOrd="1" destOrd="0" presId="urn:microsoft.com/office/officeart/2005/8/layout/orgChart1"/>
    <dgm:cxn modelId="{D87A77AC-C6FB-4D62-BC60-E629744A8A98}" srcId="{AE4AEB44-270D-4A4A-986A-D0C7568AB1FF}" destId="{436966C0-1DA5-462C-A792-C39AB9A2902C}" srcOrd="0" destOrd="0" parTransId="{ED56C5B0-A8EF-4171-B1D5-E243FAD33B08}" sibTransId="{4AE02011-9435-49BE-B7F0-50EE2832CAF5}"/>
    <dgm:cxn modelId="{F4A822B0-C701-49BE-AC99-C0794BAF8634}" type="presOf" srcId="{5CDFC6AB-AF9B-4F4B-8DB6-18F5619B643C}" destId="{C4C52338-541E-4D2A-A767-90DB37F3F51D}" srcOrd="1" destOrd="0" presId="urn:microsoft.com/office/officeart/2005/8/layout/orgChart1"/>
    <dgm:cxn modelId="{171565B1-51BB-428A-ABE6-FBF7AE53D148}" type="presOf" srcId="{A8104150-7D45-46F6-88C9-CB221FE9A231}" destId="{83F60BAF-4D3C-4FCB-9CB5-71AD72A8DC2B}" srcOrd="0" destOrd="0" presId="urn:microsoft.com/office/officeart/2005/8/layout/orgChart1"/>
    <dgm:cxn modelId="{8B6143B3-8170-4C91-A389-D3D9FD7458AF}" type="presOf" srcId="{38D42633-C57A-4D70-8EAE-A8D972120E52}" destId="{7A535D29-0E21-42FC-AB08-343B963AE611}" srcOrd="0" destOrd="0" presId="urn:microsoft.com/office/officeart/2005/8/layout/orgChart1"/>
    <dgm:cxn modelId="{AAE74EB7-0EFF-4C79-A694-8380E463CAA3}" type="presOf" srcId="{DF961A74-B5F5-4B93-9FA9-DE5DA87D9BD2}" destId="{79E8509D-D200-4AD2-9176-BA1C925FA3FE}" srcOrd="0" destOrd="0" presId="urn:microsoft.com/office/officeart/2005/8/layout/orgChart1"/>
    <dgm:cxn modelId="{97BDA9B7-BA81-449D-B23A-BA3486C10A62}" type="presOf" srcId="{C4DFA08D-1F8D-41AE-8ACE-B408E812044D}" destId="{2C5D9233-E922-480E-A546-C8C0865DBB32}" srcOrd="0" destOrd="0" presId="urn:microsoft.com/office/officeart/2005/8/layout/orgChart1"/>
    <dgm:cxn modelId="{040D00B8-50E8-4545-88FA-ADDF575F23A2}" type="presOf" srcId="{90A22878-B6E8-4635-97AA-7B6ABBA1902A}" destId="{92E984C5-60DA-4B4D-A7C7-AF061BF5E9C5}" srcOrd="0" destOrd="0" presId="urn:microsoft.com/office/officeart/2005/8/layout/orgChart1"/>
    <dgm:cxn modelId="{856A66B9-5081-4D90-9B91-70C217FD3F1F}" type="presOf" srcId="{ED56C5B0-A8EF-4171-B1D5-E243FAD33B08}" destId="{8603216B-8D19-4F7D-B157-A8C9FEF99D65}" srcOrd="0" destOrd="0" presId="urn:microsoft.com/office/officeart/2005/8/layout/orgChart1"/>
    <dgm:cxn modelId="{A1FFFAB9-9778-4C28-BD47-CA8CACC97EB3}" type="presOf" srcId="{436966C0-1DA5-462C-A792-C39AB9A2902C}" destId="{5DFBA267-DF77-4DE3-A8C4-1B09CE8BF4DF}" srcOrd="1" destOrd="0" presId="urn:microsoft.com/office/officeart/2005/8/layout/orgChart1"/>
    <dgm:cxn modelId="{E748A0BB-4E9C-43AB-9F60-88F4EAEAC75F}" type="presOf" srcId="{2E71E581-ABC2-4110-8824-5F9BA3DDBA94}" destId="{169C6095-E691-418B-B746-91B0AF7A2B03}" srcOrd="0" destOrd="0" presId="urn:microsoft.com/office/officeart/2005/8/layout/orgChart1"/>
    <dgm:cxn modelId="{EA01F1BE-F7A3-412C-9F55-B39BC855A8B3}" srcId="{BDC5F6A9-EED0-4BBA-A953-80B17F5BCBF6}" destId="{E4B4F9F4-D240-4EF9-8A3E-0060574F32FE}" srcOrd="0" destOrd="0" parTransId="{686EE54E-2CC1-4ABF-B221-047AC1ECAA71}" sibTransId="{EC5EB5C7-F1A2-4FE5-A33B-B7B5FE53412C}"/>
    <dgm:cxn modelId="{6D1367C0-CA8F-48DB-B037-4E3A6366ACD3}" type="presOf" srcId="{D42CCFC8-F48A-4ED8-B845-DE2B6E08FF75}" destId="{A94F5DD6-EF87-480D-A5D8-819FAFAE07B3}" srcOrd="1" destOrd="0" presId="urn:microsoft.com/office/officeart/2005/8/layout/orgChart1"/>
    <dgm:cxn modelId="{60BBEFC5-265D-4D58-9494-87CC4D24DA3D}" type="presOf" srcId="{AE4AEB44-270D-4A4A-986A-D0C7568AB1FF}" destId="{0E214E11-E023-42F0-949E-D4B5EE6BF00B}" srcOrd="0" destOrd="0" presId="urn:microsoft.com/office/officeart/2005/8/layout/orgChart1"/>
    <dgm:cxn modelId="{4C353FC6-3534-4BB0-B716-6E068360FA08}" type="presOf" srcId="{48831D65-4DA9-4A69-B4E0-9DAB11DA54EE}" destId="{0791DD61-4954-4B15-8EBE-F685297D5DD7}" srcOrd="1" destOrd="0" presId="urn:microsoft.com/office/officeart/2005/8/layout/orgChart1"/>
    <dgm:cxn modelId="{AFFC99C7-FE06-4383-A1B9-58092F2D4798}" type="presOf" srcId="{1A8A9C50-863B-4B42-A67C-6E56A8BED035}" destId="{C2EFA9A1-6CA6-4941-8A47-8DE384814D70}" srcOrd="0" destOrd="0" presId="urn:microsoft.com/office/officeart/2005/8/layout/orgChart1"/>
    <dgm:cxn modelId="{35B586C8-ECA0-47E0-97CC-F77E89342F2D}" srcId="{D220A13B-8F1E-468F-82C7-70F47B586B66}" destId="{5FA6B686-F16E-466C-BE3E-43ED16C6D8C6}" srcOrd="0" destOrd="0" parTransId="{A594F774-112B-44D2-A33E-59F8C7CE9675}" sibTransId="{E6ED807E-5124-4B7B-B0B7-32823F9DEE77}"/>
    <dgm:cxn modelId="{4E38D8C8-5878-4620-B301-038C1B0C36CB}" type="presOf" srcId="{85A44AD6-65C3-4058-81D7-7E42B2DD0F80}" destId="{BDB1747F-67B0-406E-AF2C-2678F824B4B1}" srcOrd="1" destOrd="0" presId="urn:microsoft.com/office/officeart/2005/8/layout/orgChart1"/>
    <dgm:cxn modelId="{ACC782CA-1D2F-45A9-BAB2-7231DBA7317E}" type="presOf" srcId="{5FA6B686-F16E-466C-BE3E-43ED16C6D8C6}" destId="{3BDCA4B3-95F5-4122-B29D-B6898E1DC8AB}" srcOrd="1" destOrd="0" presId="urn:microsoft.com/office/officeart/2005/8/layout/orgChart1"/>
    <dgm:cxn modelId="{25C8B6CB-238A-4908-87DD-7FBD0C0FA14B}" type="presOf" srcId="{93BA14B6-8766-4789-AFCE-C7843D9F6784}" destId="{832F2DA1-4B04-4F3B-896F-155C25AF0DC8}" srcOrd="0" destOrd="0" presId="urn:microsoft.com/office/officeart/2005/8/layout/orgChart1"/>
    <dgm:cxn modelId="{1A317ACC-4F1A-4C6A-8A43-DCCAD31DDD05}" type="presOf" srcId="{B01185A3-7992-4FF9-825D-25231ACF59CB}" destId="{ABAC0E1A-6F1A-4F9C-8F96-1C83A5C6FA0B}" srcOrd="1" destOrd="0" presId="urn:microsoft.com/office/officeart/2005/8/layout/orgChart1"/>
    <dgm:cxn modelId="{FAACB7CE-E27F-47FF-9E59-B5B5FDCDBC7C}" type="presOf" srcId="{38F91D7F-6BCE-4D2B-8083-3983004BC263}" destId="{7C64FFE2-EDD1-4356-B1F6-B51EABFEF803}" srcOrd="0" destOrd="0" presId="urn:microsoft.com/office/officeart/2005/8/layout/orgChart1"/>
    <dgm:cxn modelId="{06703FD2-6D87-4D9C-AC31-0CBB9300B24E}" type="presOf" srcId="{7C456F81-39E8-4A49-BB92-6D9710B9C081}" destId="{B04A4DB1-8A65-405D-A9FF-F09FD21D735D}" srcOrd="0" destOrd="0" presId="urn:microsoft.com/office/officeart/2005/8/layout/orgChart1"/>
    <dgm:cxn modelId="{8A5705DA-3E51-496B-BFFF-6292DC74A585}" type="presOf" srcId="{B9C4C665-1F09-4978-805F-7F4AB198114A}" destId="{B9DF87EC-68ED-4CC6-A058-18BDC7942E84}" srcOrd="1" destOrd="0" presId="urn:microsoft.com/office/officeart/2005/8/layout/orgChart1"/>
    <dgm:cxn modelId="{763D30DC-E32F-4392-851F-D9F4F96E9945}" type="presOf" srcId="{5FA6B686-F16E-466C-BE3E-43ED16C6D8C6}" destId="{4FAFC1BF-9ED1-4A9A-8A38-0142B92A2210}" srcOrd="0" destOrd="0" presId="urn:microsoft.com/office/officeart/2005/8/layout/orgChart1"/>
    <dgm:cxn modelId="{1CD765DD-D3CF-4574-9B1C-EBFCF23D84F2}" srcId="{E4B4F9F4-D240-4EF9-8A3E-0060574F32FE}" destId="{FFA5421F-27D0-4DFF-8F9B-265F3DEC0563}" srcOrd="6" destOrd="0" parTransId="{78E7B7CD-E3AF-49F3-A289-06D2ADA2AE78}" sibTransId="{43C03A36-7BA4-41C0-92B6-68D967BA448B}"/>
    <dgm:cxn modelId="{B4FA8ADD-58CD-4361-A37F-E0B7B140EE6F}" type="presOf" srcId="{DB2F9BFA-637D-4F48-8548-CECDA742F819}" destId="{7EDEAF4E-817B-4561-B82A-B0B47142E78A}" srcOrd="1" destOrd="0" presId="urn:microsoft.com/office/officeart/2005/8/layout/orgChart1"/>
    <dgm:cxn modelId="{58588FDF-27CE-425C-9095-D15988D6A23E}" type="presOf" srcId="{1061A7AF-D8D1-484E-A213-1F8EBF4F7643}" destId="{B0387FB0-5BE2-4445-9B06-67E2E204A777}" srcOrd="1" destOrd="0" presId="urn:microsoft.com/office/officeart/2005/8/layout/orgChart1"/>
    <dgm:cxn modelId="{146068E3-0008-4063-ABBE-F368BFA06008}" srcId="{E4B4F9F4-D240-4EF9-8A3E-0060574F32FE}" destId="{DB2F9BFA-637D-4F48-8548-CECDA742F819}" srcOrd="1" destOrd="0" parTransId="{A812BC8D-DA5A-4E88-BB70-FA370E0F0C5B}" sibTransId="{057C72CD-26AF-4917-8EB2-76B437396A3E}"/>
    <dgm:cxn modelId="{1669F7E3-E47D-4A86-8E4F-975B829ADD62}" type="presOf" srcId="{BDC5F6A9-EED0-4BBA-A953-80B17F5BCBF6}" destId="{066E8638-6B43-4626-B2BC-6439D5CB6903}" srcOrd="0" destOrd="0" presId="urn:microsoft.com/office/officeart/2005/8/layout/orgChart1"/>
    <dgm:cxn modelId="{8798C5E5-E50F-4683-B431-4A5615D1F611}" srcId="{E4B4F9F4-D240-4EF9-8A3E-0060574F32FE}" destId="{D0D9162D-5DD8-44DA-985A-4D100C5CABFF}" srcOrd="5" destOrd="0" parTransId="{A029A73B-703F-4777-8B87-9E8F1D3B3BDA}" sibTransId="{39A7C314-EE38-4613-8523-D8FE84CA5585}"/>
    <dgm:cxn modelId="{E6DCEFE6-ADE0-4898-AAF8-92B612C69DFB}" type="presOf" srcId="{94FA6FDE-0994-41A3-BC3E-ACD49C879BB4}" destId="{CA1C1DE5-05F0-4A34-99C9-E164D25BCBA1}" srcOrd="0" destOrd="0" presId="urn:microsoft.com/office/officeart/2005/8/layout/orgChart1"/>
    <dgm:cxn modelId="{E79874EA-268B-4171-A581-A71C1FE9370A}" type="presOf" srcId="{AC81E237-49B8-4BC9-A64F-6FCEEA1A9167}" destId="{A922FF0C-AF4D-4C6A-83F8-6D8F9370D588}" srcOrd="0" destOrd="0" presId="urn:microsoft.com/office/officeart/2005/8/layout/orgChart1"/>
    <dgm:cxn modelId="{C3327DEA-4B82-46FE-8935-BE658228877F}" type="presOf" srcId="{32034CE2-CECF-4285-8EBB-7E744E5540F9}" destId="{FB3CCA32-FA4D-4D50-BB97-3CAF5E5A4889}" srcOrd="0" destOrd="0" presId="urn:microsoft.com/office/officeart/2005/8/layout/orgChart1"/>
    <dgm:cxn modelId="{6691A8EA-A7E5-4D25-B972-04916DF38602}" srcId="{E4B4F9F4-D240-4EF9-8A3E-0060574F32FE}" destId="{5CDFC6AB-AF9B-4F4B-8DB6-18F5619B643C}" srcOrd="4" destOrd="0" parTransId="{38F91D7F-6BCE-4D2B-8083-3983004BC263}" sibTransId="{FFB30EE4-E019-4927-8CC9-D4E9932006CB}"/>
    <dgm:cxn modelId="{6BB7C1EC-20DE-44B9-B61D-DB6904B4311D}" srcId="{B9C4C665-1F09-4978-805F-7F4AB198114A}" destId="{85A44AD6-65C3-4058-81D7-7E42B2DD0F80}" srcOrd="2" destOrd="0" parTransId="{2A83B644-E41F-4BA9-A694-D06520373CB4}" sibTransId="{E54D5159-4558-4713-858F-89CEE75A64BD}"/>
    <dgm:cxn modelId="{E643E3EE-4A32-4793-BEAE-6DB4A42E56DB}" srcId="{BDC5F6A9-EED0-4BBA-A953-80B17F5BCBF6}" destId="{D220A13B-8F1E-468F-82C7-70F47B586B66}" srcOrd="2" destOrd="0" parTransId="{C4DFA08D-1F8D-41AE-8ACE-B408E812044D}" sibTransId="{C464D18D-2861-41A3-949C-1FC6F18E3B02}"/>
    <dgm:cxn modelId="{C247B0F1-0C8D-4968-8FE6-0A0F1A72F1D2}" srcId="{AE4AEB44-270D-4A4A-986A-D0C7568AB1FF}" destId="{A8104150-7D45-46F6-88C9-CB221FE9A231}" srcOrd="6" destOrd="0" parTransId="{2E71E581-ABC2-4110-8824-5F9BA3DDBA94}" sibTransId="{28CDD69E-3DF1-4E4E-9025-CFB173EED06A}"/>
    <dgm:cxn modelId="{140DA8F2-CAFB-4217-A615-612B2618FB54}" type="presOf" srcId="{1C5B7485-BE1A-44CA-8B64-16EDA3A4FA5C}" destId="{4F9CEBCB-3E07-4D52-B4A4-6B8EBED17822}" srcOrd="0" destOrd="0" presId="urn:microsoft.com/office/officeart/2005/8/layout/orgChart1"/>
    <dgm:cxn modelId="{CF4FFDF5-D07E-4226-A8CC-E47555DCECAB}" type="presOf" srcId="{A029A73B-703F-4777-8B87-9E8F1D3B3BDA}" destId="{0E0B4CBD-9A62-4CC3-9FC0-CED86B798149}" srcOrd="0" destOrd="0" presId="urn:microsoft.com/office/officeart/2005/8/layout/orgChart1"/>
    <dgm:cxn modelId="{7EF7A1FA-381C-473B-862B-CD6DCE7D89BC}" type="presOf" srcId="{28EBC714-E5E5-4238-BC32-9DA37C4B6470}" destId="{E21B903E-34D1-43D0-9118-61AB99E18B06}" srcOrd="1" destOrd="0" presId="urn:microsoft.com/office/officeart/2005/8/layout/orgChart1"/>
    <dgm:cxn modelId="{53A3DFFE-D136-46C1-A11B-41BAA287E3B0}" srcId="{E4B4F9F4-D240-4EF9-8A3E-0060574F32FE}" destId="{BAD3CAEA-CF56-44D1-A383-B635FB82C9B1}" srcOrd="3" destOrd="0" parTransId="{4B295F66-D8B2-4E80-83B7-6EAFEC8D3D1B}" sibTransId="{338B604E-5AC5-499D-9EAA-EB2F6C901E3B}"/>
    <dgm:cxn modelId="{6E4BF8FE-5844-4C0F-8FEA-07D23CAB381D}" type="presOf" srcId="{E4B4F9F4-D240-4EF9-8A3E-0060574F32FE}" destId="{C0FF33DF-CA61-43D8-9567-8947149FFC4D}" srcOrd="0" destOrd="0" presId="urn:microsoft.com/office/officeart/2005/8/layout/orgChart1"/>
    <dgm:cxn modelId="{E1436398-BB47-4664-A24D-84F7F3E30FDA}" type="presParOf" srcId="{B04A4DB1-8A65-405D-A9FF-F09FD21D735D}" destId="{361B81A5-9CA1-4DBD-9B47-64E00DB700FB}" srcOrd="0" destOrd="0" presId="urn:microsoft.com/office/officeart/2005/8/layout/orgChart1"/>
    <dgm:cxn modelId="{B1CF0B4D-6BB7-4571-A5A1-21C23CE2E309}" type="presParOf" srcId="{361B81A5-9CA1-4DBD-9B47-64E00DB700FB}" destId="{C5BEE213-8E9E-461D-87E2-99E5F4CA3D93}" srcOrd="0" destOrd="0" presId="urn:microsoft.com/office/officeart/2005/8/layout/orgChart1"/>
    <dgm:cxn modelId="{04B76255-5DF7-40DC-899C-63F6E0DA0FC7}" type="presParOf" srcId="{C5BEE213-8E9E-461D-87E2-99E5F4CA3D93}" destId="{066E8638-6B43-4626-B2BC-6439D5CB6903}" srcOrd="0" destOrd="0" presId="urn:microsoft.com/office/officeart/2005/8/layout/orgChart1"/>
    <dgm:cxn modelId="{23EC55AB-BBBD-409A-8B43-BBB653E27A45}" type="presParOf" srcId="{C5BEE213-8E9E-461D-87E2-99E5F4CA3D93}" destId="{B2CF8861-D546-48BF-8605-A0B0689F336C}" srcOrd="1" destOrd="0" presId="urn:microsoft.com/office/officeart/2005/8/layout/orgChart1"/>
    <dgm:cxn modelId="{387738FC-40CB-4127-9529-88AC9DBEB715}" type="presParOf" srcId="{361B81A5-9CA1-4DBD-9B47-64E00DB700FB}" destId="{4552F86E-171D-4D57-BF2B-065C2DC6E063}" srcOrd="1" destOrd="0" presId="urn:microsoft.com/office/officeart/2005/8/layout/orgChart1"/>
    <dgm:cxn modelId="{401D92AA-D008-4930-8E57-7F498EE29CAA}" type="presParOf" srcId="{4552F86E-171D-4D57-BF2B-065C2DC6E063}" destId="{E4707A64-0BF8-4865-8496-3A37C893985E}" srcOrd="0" destOrd="0" presId="urn:microsoft.com/office/officeart/2005/8/layout/orgChart1"/>
    <dgm:cxn modelId="{0177F7B1-0E96-4BBD-96EB-4B376A40DF5D}" type="presParOf" srcId="{4552F86E-171D-4D57-BF2B-065C2DC6E063}" destId="{D10E7A93-7D18-48F8-BE3A-761931A00B39}" srcOrd="1" destOrd="0" presId="urn:microsoft.com/office/officeart/2005/8/layout/orgChart1"/>
    <dgm:cxn modelId="{585B62FB-E9AC-4689-BB19-5CE1987C4FC5}" type="presParOf" srcId="{D10E7A93-7D18-48F8-BE3A-761931A00B39}" destId="{C1D3207F-CD32-4B7F-8924-6C080651588E}" srcOrd="0" destOrd="0" presId="urn:microsoft.com/office/officeart/2005/8/layout/orgChart1"/>
    <dgm:cxn modelId="{EB3EC180-C5F2-4ADF-9B5B-EF141C4AE557}" type="presParOf" srcId="{C1D3207F-CD32-4B7F-8924-6C080651588E}" destId="{C0FF33DF-CA61-43D8-9567-8947149FFC4D}" srcOrd="0" destOrd="0" presId="urn:microsoft.com/office/officeart/2005/8/layout/orgChart1"/>
    <dgm:cxn modelId="{585A0F36-E7E8-4298-9818-69FC12043466}" type="presParOf" srcId="{C1D3207F-CD32-4B7F-8924-6C080651588E}" destId="{E58EEF2C-ECD0-400C-98A2-66555E0AE16C}" srcOrd="1" destOrd="0" presId="urn:microsoft.com/office/officeart/2005/8/layout/orgChart1"/>
    <dgm:cxn modelId="{519BD67E-19CF-48AD-97EE-8E60F13AE78C}" type="presParOf" srcId="{D10E7A93-7D18-48F8-BE3A-761931A00B39}" destId="{E5F10C7B-88F2-4979-B2F9-253C6A93E146}" srcOrd="1" destOrd="0" presId="urn:microsoft.com/office/officeart/2005/8/layout/orgChart1"/>
    <dgm:cxn modelId="{52DACC05-68C7-4A55-BC66-3CBDB4728D5E}" type="presParOf" srcId="{E5F10C7B-88F2-4979-B2F9-253C6A93E146}" destId="{7A535D29-0E21-42FC-AB08-343B963AE611}" srcOrd="0" destOrd="0" presId="urn:microsoft.com/office/officeart/2005/8/layout/orgChart1"/>
    <dgm:cxn modelId="{F071A0AA-57FA-4ABB-A24F-3F5589DF5F97}" type="presParOf" srcId="{E5F10C7B-88F2-4979-B2F9-253C6A93E146}" destId="{F67633B3-F96F-4871-A16C-5B62EEB8A804}" srcOrd="1" destOrd="0" presId="urn:microsoft.com/office/officeart/2005/8/layout/orgChart1"/>
    <dgm:cxn modelId="{354526F7-02D4-4FD4-A312-8A84318E9480}" type="presParOf" srcId="{F67633B3-F96F-4871-A16C-5B62EEB8A804}" destId="{55108C13-F42A-4F4A-BD74-C0D4D1C72064}" srcOrd="0" destOrd="0" presId="urn:microsoft.com/office/officeart/2005/8/layout/orgChart1"/>
    <dgm:cxn modelId="{B5F1A3B5-D7E3-4014-9324-E6C61631961D}" type="presParOf" srcId="{55108C13-F42A-4F4A-BD74-C0D4D1C72064}" destId="{80165183-E835-40B7-98A6-B222C4B774CE}" srcOrd="0" destOrd="0" presId="urn:microsoft.com/office/officeart/2005/8/layout/orgChart1"/>
    <dgm:cxn modelId="{CFD342A4-232B-4CD2-ADAF-FCE15AF76702}" type="presParOf" srcId="{55108C13-F42A-4F4A-BD74-C0D4D1C72064}" destId="{A94F5DD6-EF87-480D-A5D8-819FAFAE07B3}" srcOrd="1" destOrd="0" presId="urn:microsoft.com/office/officeart/2005/8/layout/orgChart1"/>
    <dgm:cxn modelId="{44B149C9-642A-43E1-80E2-8114C1E28FE2}" type="presParOf" srcId="{F67633B3-F96F-4871-A16C-5B62EEB8A804}" destId="{7CBA4190-7D58-4022-A844-C5893473FC28}" srcOrd="1" destOrd="0" presId="urn:microsoft.com/office/officeart/2005/8/layout/orgChart1"/>
    <dgm:cxn modelId="{D6B61B54-CA5D-4377-B5FA-2EF6E28E9ACC}" type="presParOf" srcId="{F67633B3-F96F-4871-A16C-5B62EEB8A804}" destId="{DD7DC43C-785A-443C-B26A-04B366690519}" srcOrd="2" destOrd="0" presId="urn:microsoft.com/office/officeart/2005/8/layout/orgChart1"/>
    <dgm:cxn modelId="{00E0D8A3-9FF7-4008-B122-A9B2594B6C96}" type="presParOf" srcId="{E5F10C7B-88F2-4979-B2F9-253C6A93E146}" destId="{7BDAD112-6EE8-4EDB-9ECE-11C0741097FC}" srcOrd="2" destOrd="0" presId="urn:microsoft.com/office/officeart/2005/8/layout/orgChart1"/>
    <dgm:cxn modelId="{C6EFDC17-5D5D-4F5C-9E00-435BAD38106E}" type="presParOf" srcId="{E5F10C7B-88F2-4979-B2F9-253C6A93E146}" destId="{BC9E8A80-9959-4E7B-8867-B7BC0F88D483}" srcOrd="3" destOrd="0" presId="urn:microsoft.com/office/officeart/2005/8/layout/orgChart1"/>
    <dgm:cxn modelId="{774BD83B-EB6C-4752-84DB-444A164B5886}" type="presParOf" srcId="{BC9E8A80-9959-4E7B-8867-B7BC0F88D483}" destId="{6628587D-FDC0-4194-8F4B-19DEB692EA7C}" srcOrd="0" destOrd="0" presId="urn:microsoft.com/office/officeart/2005/8/layout/orgChart1"/>
    <dgm:cxn modelId="{E353CAE7-CF51-47BD-B6F2-A2E9F919DD73}" type="presParOf" srcId="{6628587D-FDC0-4194-8F4B-19DEB692EA7C}" destId="{4D2A5E80-A074-4010-9B20-BF4F65F2058D}" srcOrd="0" destOrd="0" presId="urn:microsoft.com/office/officeart/2005/8/layout/orgChart1"/>
    <dgm:cxn modelId="{DAC414F7-3B00-4378-B42D-89460F730478}" type="presParOf" srcId="{6628587D-FDC0-4194-8F4B-19DEB692EA7C}" destId="{7EDEAF4E-817B-4561-B82A-B0B47142E78A}" srcOrd="1" destOrd="0" presId="urn:microsoft.com/office/officeart/2005/8/layout/orgChart1"/>
    <dgm:cxn modelId="{0C01D97E-80B4-4CDA-A237-4DCE56A8239B}" type="presParOf" srcId="{BC9E8A80-9959-4E7B-8867-B7BC0F88D483}" destId="{F213845C-8585-4DE3-9CFC-3A39F544F9AE}" srcOrd="1" destOrd="0" presId="urn:microsoft.com/office/officeart/2005/8/layout/orgChart1"/>
    <dgm:cxn modelId="{EE564FF6-F460-4234-9FDD-251FCC6AC8B3}" type="presParOf" srcId="{BC9E8A80-9959-4E7B-8867-B7BC0F88D483}" destId="{76069CDE-337A-4DA6-B40F-B396F3608C8E}" srcOrd="2" destOrd="0" presId="urn:microsoft.com/office/officeart/2005/8/layout/orgChart1"/>
    <dgm:cxn modelId="{7571F01B-6390-4B72-ADC8-458796E9A9E0}" type="presParOf" srcId="{E5F10C7B-88F2-4979-B2F9-253C6A93E146}" destId="{FB3CCA32-FA4D-4D50-BB97-3CAF5E5A4889}" srcOrd="4" destOrd="0" presId="urn:microsoft.com/office/officeart/2005/8/layout/orgChart1"/>
    <dgm:cxn modelId="{D8569C5C-1B55-42C4-A69B-AB157F8F99EF}" type="presParOf" srcId="{E5F10C7B-88F2-4979-B2F9-253C6A93E146}" destId="{8DBF82C7-5CA6-41FD-A574-BE21286C3574}" srcOrd="5" destOrd="0" presId="urn:microsoft.com/office/officeart/2005/8/layout/orgChart1"/>
    <dgm:cxn modelId="{0D08B7B7-45F8-462A-893C-E6371AEB865A}" type="presParOf" srcId="{8DBF82C7-5CA6-41FD-A574-BE21286C3574}" destId="{3B01AAE6-D364-4559-A852-C29F05A49A93}" srcOrd="0" destOrd="0" presId="urn:microsoft.com/office/officeart/2005/8/layout/orgChart1"/>
    <dgm:cxn modelId="{46C554C7-F062-4D2F-A136-AEFFFCFF9362}" type="presParOf" srcId="{3B01AAE6-D364-4559-A852-C29F05A49A93}" destId="{19F09E86-F0DE-4C4A-972F-B66FAD4CC4D9}" srcOrd="0" destOrd="0" presId="urn:microsoft.com/office/officeart/2005/8/layout/orgChart1"/>
    <dgm:cxn modelId="{EAE3D1B4-FF98-4F36-A0F2-DDCBA3AC1B3E}" type="presParOf" srcId="{3B01AAE6-D364-4559-A852-C29F05A49A93}" destId="{738746C3-CC92-43F9-A66B-D5D3C525A0C7}" srcOrd="1" destOrd="0" presId="urn:microsoft.com/office/officeart/2005/8/layout/orgChart1"/>
    <dgm:cxn modelId="{9F18CF1E-2D18-4AC4-ADEE-5B87BCE2EC06}" type="presParOf" srcId="{8DBF82C7-5CA6-41FD-A574-BE21286C3574}" destId="{EDF856D6-8F58-4B31-800E-8FE67879BBF8}" srcOrd="1" destOrd="0" presId="urn:microsoft.com/office/officeart/2005/8/layout/orgChart1"/>
    <dgm:cxn modelId="{998EF917-29CD-4536-8558-EFCE1C919B1F}" type="presParOf" srcId="{8DBF82C7-5CA6-41FD-A574-BE21286C3574}" destId="{CA05EF70-784F-4DFE-BA1B-55594D20ED57}" srcOrd="2" destOrd="0" presId="urn:microsoft.com/office/officeart/2005/8/layout/orgChart1"/>
    <dgm:cxn modelId="{F98FC602-B8F8-45BF-8D6D-E21FBA1B4DDD}" type="presParOf" srcId="{E5F10C7B-88F2-4979-B2F9-253C6A93E146}" destId="{7604AD31-352A-44F8-A295-429A89BCAB11}" srcOrd="6" destOrd="0" presId="urn:microsoft.com/office/officeart/2005/8/layout/orgChart1"/>
    <dgm:cxn modelId="{01BD29A1-D89A-4029-BFB1-CC9D554E1254}" type="presParOf" srcId="{E5F10C7B-88F2-4979-B2F9-253C6A93E146}" destId="{27CD0584-01ED-4FFC-B2ED-019F34AFCA5C}" srcOrd="7" destOrd="0" presId="urn:microsoft.com/office/officeart/2005/8/layout/orgChart1"/>
    <dgm:cxn modelId="{B29BFA04-CE9A-49FF-9A5B-A8939655A770}" type="presParOf" srcId="{27CD0584-01ED-4FFC-B2ED-019F34AFCA5C}" destId="{0A65AC93-19FC-4D19-9DF3-1902F7C616EC}" srcOrd="0" destOrd="0" presId="urn:microsoft.com/office/officeart/2005/8/layout/orgChart1"/>
    <dgm:cxn modelId="{A05890ED-41F0-4B6D-B72D-0F62AAF31F5B}" type="presParOf" srcId="{0A65AC93-19FC-4D19-9DF3-1902F7C616EC}" destId="{443F4F1D-9945-4AE0-9AD3-A7136D025838}" srcOrd="0" destOrd="0" presId="urn:microsoft.com/office/officeart/2005/8/layout/orgChart1"/>
    <dgm:cxn modelId="{E3071EBA-3C87-44AF-8517-45F6196CFF85}" type="presParOf" srcId="{0A65AC93-19FC-4D19-9DF3-1902F7C616EC}" destId="{A4244743-949B-4E33-9C18-EBE8F71B6A6E}" srcOrd="1" destOrd="0" presId="urn:microsoft.com/office/officeart/2005/8/layout/orgChart1"/>
    <dgm:cxn modelId="{BBC0747D-9989-4E99-9E06-876D2D76BE4E}" type="presParOf" srcId="{27CD0584-01ED-4FFC-B2ED-019F34AFCA5C}" destId="{F9F92E58-C9A9-44F2-AF12-B8A783BD1258}" srcOrd="1" destOrd="0" presId="urn:microsoft.com/office/officeart/2005/8/layout/orgChart1"/>
    <dgm:cxn modelId="{96721A55-62D5-44D5-BC75-D1BAB9BF82D2}" type="presParOf" srcId="{27CD0584-01ED-4FFC-B2ED-019F34AFCA5C}" destId="{DFAD1BF5-6716-4A16-8CB7-6393093C853A}" srcOrd="2" destOrd="0" presId="urn:microsoft.com/office/officeart/2005/8/layout/orgChart1"/>
    <dgm:cxn modelId="{DEA503FB-E88C-4082-9DB9-11163CB70467}" type="presParOf" srcId="{E5F10C7B-88F2-4979-B2F9-253C6A93E146}" destId="{7C64FFE2-EDD1-4356-B1F6-B51EABFEF803}" srcOrd="8" destOrd="0" presId="urn:microsoft.com/office/officeart/2005/8/layout/orgChart1"/>
    <dgm:cxn modelId="{B0874EC7-9D06-4B88-A0F6-D439072CE21B}" type="presParOf" srcId="{E5F10C7B-88F2-4979-B2F9-253C6A93E146}" destId="{B20699D1-D14E-466B-9677-F5CE44091320}" srcOrd="9" destOrd="0" presId="urn:microsoft.com/office/officeart/2005/8/layout/orgChart1"/>
    <dgm:cxn modelId="{C89E5042-8900-4492-96D6-73E7978C643E}" type="presParOf" srcId="{B20699D1-D14E-466B-9677-F5CE44091320}" destId="{D31E84F0-044A-40A3-A21D-CE3CFCAA434B}" srcOrd="0" destOrd="0" presId="urn:microsoft.com/office/officeart/2005/8/layout/orgChart1"/>
    <dgm:cxn modelId="{5BF522CE-05B7-4DDA-8C32-8C47A76D8C2C}" type="presParOf" srcId="{D31E84F0-044A-40A3-A21D-CE3CFCAA434B}" destId="{7B02EBED-9903-4F58-9317-86CEF8CC4CF2}" srcOrd="0" destOrd="0" presId="urn:microsoft.com/office/officeart/2005/8/layout/orgChart1"/>
    <dgm:cxn modelId="{2B3654D6-BA5A-454F-B845-3FC6706A818D}" type="presParOf" srcId="{D31E84F0-044A-40A3-A21D-CE3CFCAA434B}" destId="{C4C52338-541E-4D2A-A767-90DB37F3F51D}" srcOrd="1" destOrd="0" presId="urn:microsoft.com/office/officeart/2005/8/layout/orgChart1"/>
    <dgm:cxn modelId="{E8036A1A-AD8C-4A79-87E4-56FB2F50680F}" type="presParOf" srcId="{B20699D1-D14E-466B-9677-F5CE44091320}" destId="{686A83D9-1556-4288-B571-FCDC0C031F0D}" srcOrd="1" destOrd="0" presId="urn:microsoft.com/office/officeart/2005/8/layout/orgChart1"/>
    <dgm:cxn modelId="{781340CF-D67C-4E5D-94EC-4C1C65B9DD80}" type="presParOf" srcId="{B20699D1-D14E-466B-9677-F5CE44091320}" destId="{3D30C8F4-1A97-443E-9403-0FD35819CC38}" srcOrd="2" destOrd="0" presId="urn:microsoft.com/office/officeart/2005/8/layout/orgChart1"/>
    <dgm:cxn modelId="{F9FE3A76-650E-4906-B946-E0806A2526DC}" type="presParOf" srcId="{E5F10C7B-88F2-4979-B2F9-253C6A93E146}" destId="{0E0B4CBD-9A62-4CC3-9FC0-CED86B798149}" srcOrd="10" destOrd="0" presId="urn:microsoft.com/office/officeart/2005/8/layout/orgChart1"/>
    <dgm:cxn modelId="{2932FE70-0216-485E-9889-1CFDBDA80EEC}" type="presParOf" srcId="{E5F10C7B-88F2-4979-B2F9-253C6A93E146}" destId="{1310E0A7-0CFE-4DC3-8E0B-52295EDAD4AF}" srcOrd="11" destOrd="0" presId="urn:microsoft.com/office/officeart/2005/8/layout/orgChart1"/>
    <dgm:cxn modelId="{4E7C9649-F8F1-4A2D-9279-498CC71070EE}" type="presParOf" srcId="{1310E0A7-0CFE-4DC3-8E0B-52295EDAD4AF}" destId="{20BCDFE3-31BC-4840-86A7-E3CEA7B03A72}" srcOrd="0" destOrd="0" presId="urn:microsoft.com/office/officeart/2005/8/layout/orgChart1"/>
    <dgm:cxn modelId="{664083A6-61C4-4DCD-981F-1596CE0FD39A}" type="presParOf" srcId="{20BCDFE3-31BC-4840-86A7-E3CEA7B03A72}" destId="{0759E7C1-FD3B-4E2F-8000-FB1BCCDF85E1}" srcOrd="0" destOrd="0" presId="urn:microsoft.com/office/officeart/2005/8/layout/orgChart1"/>
    <dgm:cxn modelId="{15BAEBF0-E4FE-4EA7-97E0-4980478927A9}" type="presParOf" srcId="{20BCDFE3-31BC-4840-86A7-E3CEA7B03A72}" destId="{AED935A1-DBC9-406D-AFDB-16579953553F}" srcOrd="1" destOrd="0" presId="urn:microsoft.com/office/officeart/2005/8/layout/orgChart1"/>
    <dgm:cxn modelId="{B015828E-F2F4-4224-89C5-4F1763C94BDF}" type="presParOf" srcId="{1310E0A7-0CFE-4DC3-8E0B-52295EDAD4AF}" destId="{7660D40B-D97B-4168-AD57-FD5FAB0FAD53}" srcOrd="1" destOrd="0" presId="urn:microsoft.com/office/officeart/2005/8/layout/orgChart1"/>
    <dgm:cxn modelId="{5FA58891-6C29-40CB-8A1D-63C784F2C773}" type="presParOf" srcId="{1310E0A7-0CFE-4DC3-8E0B-52295EDAD4AF}" destId="{BA2323F9-E68F-4FD7-857B-1151D287CF03}" srcOrd="2" destOrd="0" presId="urn:microsoft.com/office/officeart/2005/8/layout/orgChart1"/>
    <dgm:cxn modelId="{81027348-EAD7-414B-B6A0-C59D09D65464}" type="presParOf" srcId="{E5F10C7B-88F2-4979-B2F9-253C6A93E146}" destId="{8D44C781-567E-44BC-BAB9-8536F6BDB1C7}" srcOrd="12" destOrd="0" presId="urn:microsoft.com/office/officeart/2005/8/layout/orgChart1"/>
    <dgm:cxn modelId="{76929276-BB9F-46BD-897C-85F46AC01073}" type="presParOf" srcId="{E5F10C7B-88F2-4979-B2F9-253C6A93E146}" destId="{7B51F1A3-FE1E-4B30-AE9C-613E80E50966}" srcOrd="13" destOrd="0" presId="urn:microsoft.com/office/officeart/2005/8/layout/orgChart1"/>
    <dgm:cxn modelId="{85AEF808-2342-484A-86EA-630C0581D621}" type="presParOf" srcId="{7B51F1A3-FE1E-4B30-AE9C-613E80E50966}" destId="{612905C9-9E38-4A21-BD2F-541D2BB4B8A6}" srcOrd="0" destOrd="0" presId="urn:microsoft.com/office/officeart/2005/8/layout/orgChart1"/>
    <dgm:cxn modelId="{A21AD8C4-668E-4306-AA3E-2CDC9573C491}" type="presParOf" srcId="{612905C9-9E38-4A21-BD2F-541D2BB4B8A6}" destId="{A72C8DE6-A6EB-42A1-AAB2-C7A5552D29F0}" srcOrd="0" destOrd="0" presId="urn:microsoft.com/office/officeart/2005/8/layout/orgChart1"/>
    <dgm:cxn modelId="{409C0756-8AC3-4386-8979-BAB60E4F2071}" type="presParOf" srcId="{612905C9-9E38-4A21-BD2F-541D2BB4B8A6}" destId="{1FD75344-0537-4D87-B1DA-06763D357446}" srcOrd="1" destOrd="0" presId="urn:microsoft.com/office/officeart/2005/8/layout/orgChart1"/>
    <dgm:cxn modelId="{1CE0565C-3402-4A79-B2FC-BE3A336E9CEB}" type="presParOf" srcId="{7B51F1A3-FE1E-4B30-AE9C-613E80E50966}" destId="{F361AF5D-5E6C-43E5-ABB4-4A2A249CA8EF}" srcOrd="1" destOrd="0" presId="urn:microsoft.com/office/officeart/2005/8/layout/orgChart1"/>
    <dgm:cxn modelId="{D4A585B8-3B4D-430B-8C08-C35D7752AB7A}" type="presParOf" srcId="{7B51F1A3-FE1E-4B30-AE9C-613E80E50966}" destId="{C3E4682F-57FE-49C5-83A1-BE21274E2B4F}" srcOrd="2" destOrd="0" presId="urn:microsoft.com/office/officeart/2005/8/layout/orgChart1"/>
    <dgm:cxn modelId="{5BCA6E88-1DC2-42FC-AABB-2762E68DB2E6}" type="presParOf" srcId="{E5F10C7B-88F2-4979-B2F9-253C6A93E146}" destId="{5F14F16D-D16E-4658-9C0A-9D2A247A5CEC}" srcOrd="14" destOrd="0" presId="urn:microsoft.com/office/officeart/2005/8/layout/orgChart1"/>
    <dgm:cxn modelId="{8767862E-372E-4BDE-AD74-792365F60EE9}" type="presParOf" srcId="{E5F10C7B-88F2-4979-B2F9-253C6A93E146}" destId="{9A957B69-9D61-4DDA-B767-A3017595C5D0}" srcOrd="15" destOrd="0" presId="urn:microsoft.com/office/officeart/2005/8/layout/orgChart1"/>
    <dgm:cxn modelId="{C61F55AA-565D-4499-BACF-1C0C2D181A6C}" type="presParOf" srcId="{9A957B69-9D61-4DDA-B767-A3017595C5D0}" destId="{6AED3CA1-465A-40E9-8819-8B4CFE41C925}" srcOrd="0" destOrd="0" presId="urn:microsoft.com/office/officeart/2005/8/layout/orgChart1"/>
    <dgm:cxn modelId="{68BA82AD-D4C9-4699-98EB-DC2251BEBCDB}" type="presParOf" srcId="{6AED3CA1-465A-40E9-8819-8B4CFE41C925}" destId="{919EC09E-513E-4304-BCC8-711A5FE6DBD0}" srcOrd="0" destOrd="0" presId="urn:microsoft.com/office/officeart/2005/8/layout/orgChart1"/>
    <dgm:cxn modelId="{0789CB82-1F9B-4D62-B8D3-9A0CBE459B3F}" type="presParOf" srcId="{6AED3CA1-465A-40E9-8819-8B4CFE41C925}" destId="{E21B903E-34D1-43D0-9118-61AB99E18B06}" srcOrd="1" destOrd="0" presId="urn:microsoft.com/office/officeart/2005/8/layout/orgChart1"/>
    <dgm:cxn modelId="{9BFF5B2B-2701-408E-A6D7-E81E7E74A686}" type="presParOf" srcId="{9A957B69-9D61-4DDA-B767-A3017595C5D0}" destId="{3CE998A1-2BF9-449C-9A7D-C96C32A23C64}" srcOrd="1" destOrd="0" presId="urn:microsoft.com/office/officeart/2005/8/layout/orgChart1"/>
    <dgm:cxn modelId="{3686D494-0370-4DA3-95B1-A72D9AB77FC4}" type="presParOf" srcId="{9A957B69-9D61-4DDA-B767-A3017595C5D0}" destId="{B2569811-231B-41C3-9B00-4EEA69DA1A62}" srcOrd="2" destOrd="0" presId="urn:microsoft.com/office/officeart/2005/8/layout/orgChart1"/>
    <dgm:cxn modelId="{E5C40B6D-5A99-4D94-B8D6-E9F52A828F65}" type="presParOf" srcId="{D10E7A93-7D18-48F8-BE3A-761931A00B39}" destId="{4E72B058-E82D-4F24-AFBA-DC172A2838F1}" srcOrd="2" destOrd="0" presId="urn:microsoft.com/office/officeart/2005/8/layout/orgChart1"/>
    <dgm:cxn modelId="{7A34E6E7-0FAE-4654-A70F-3FA519E5341A}" type="presParOf" srcId="{4552F86E-171D-4D57-BF2B-065C2DC6E063}" destId="{D99DC523-A0FB-4625-8353-E7BE586ED17F}" srcOrd="2" destOrd="0" presId="urn:microsoft.com/office/officeart/2005/8/layout/orgChart1"/>
    <dgm:cxn modelId="{488A050C-E9F5-4675-99D7-7617F60EE09F}" type="presParOf" srcId="{4552F86E-171D-4D57-BF2B-065C2DC6E063}" destId="{FBEDF354-4AB7-4D88-9F9F-38E999D759BC}" srcOrd="3" destOrd="0" presId="urn:microsoft.com/office/officeart/2005/8/layout/orgChart1"/>
    <dgm:cxn modelId="{D4C37D37-A028-448F-9914-8F5CB1D98E8C}" type="presParOf" srcId="{FBEDF354-4AB7-4D88-9F9F-38E999D759BC}" destId="{97D6BF4C-48AF-43AC-8265-7D3FC4D59F6A}" srcOrd="0" destOrd="0" presId="urn:microsoft.com/office/officeart/2005/8/layout/orgChart1"/>
    <dgm:cxn modelId="{518EAD68-D51B-407F-88DA-BB851D4C580B}" type="presParOf" srcId="{97D6BF4C-48AF-43AC-8265-7D3FC4D59F6A}" destId="{0E214E11-E023-42F0-949E-D4B5EE6BF00B}" srcOrd="0" destOrd="0" presId="urn:microsoft.com/office/officeart/2005/8/layout/orgChart1"/>
    <dgm:cxn modelId="{97F7F713-4C6D-4DAC-AFDD-BAA60ABBDA81}" type="presParOf" srcId="{97D6BF4C-48AF-43AC-8265-7D3FC4D59F6A}" destId="{174DBD7B-676F-40CB-A854-FFEAC812914A}" srcOrd="1" destOrd="0" presId="urn:microsoft.com/office/officeart/2005/8/layout/orgChart1"/>
    <dgm:cxn modelId="{0D965649-B79D-4152-A5A6-0CAF08C4D1E0}" type="presParOf" srcId="{FBEDF354-4AB7-4D88-9F9F-38E999D759BC}" destId="{EC34D6C9-E2EE-4164-9A64-D01FDBECE3F8}" srcOrd="1" destOrd="0" presId="urn:microsoft.com/office/officeart/2005/8/layout/orgChart1"/>
    <dgm:cxn modelId="{6DC2FB34-5C78-4FF1-B32B-4F3004514783}" type="presParOf" srcId="{EC34D6C9-E2EE-4164-9A64-D01FDBECE3F8}" destId="{8603216B-8D19-4F7D-B157-A8C9FEF99D65}" srcOrd="0" destOrd="0" presId="urn:microsoft.com/office/officeart/2005/8/layout/orgChart1"/>
    <dgm:cxn modelId="{D4943122-7432-4A8A-A6EC-DCDF63C935B7}" type="presParOf" srcId="{EC34D6C9-E2EE-4164-9A64-D01FDBECE3F8}" destId="{2C4F6A6F-D776-49AE-BF12-3A525B4F42B9}" srcOrd="1" destOrd="0" presId="urn:microsoft.com/office/officeart/2005/8/layout/orgChart1"/>
    <dgm:cxn modelId="{E92E31BF-975D-4CF3-BA33-B761C025A93F}" type="presParOf" srcId="{2C4F6A6F-D776-49AE-BF12-3A525B4F42B9}" destId="{2043F8E6-629A-4731-88C6-29FB77F5D402}" srcOrd="0" destOrd="0" presId="urn:microsoft.com/office/officeart/2005/8/layout/orgChart1"/>
    <dgm:cxn modelId="{F8660DA4-A036-4CEA-8F16-6FEF61DB6DD0}" type="presParOf" srcId="{2043F8E6-629A-4731-88C6-29FB77F5D402}" destId="{04855EF9-FF16-4EFE-927E-96BB0C8C3828}" srcOrd="0" destOrd="0" presId="urn:microsoft.com/office/officeart/2005/8/layout/orgChart1"/>
    <dgm:cxn modelId="{F47688B7-082B-4160-941F-BBA607927A63}" type="presParOf" srcId="{2043F8E6-629A-4731-88C6-29FB77F5D402}" destId="{5DFBA267-DF77-4DE3-A8C4-1B09CE8BF4DF}" srcOrd="1" destOrd="0" presId="urn:microsoft.com/office/officeart/2005/8/layout/orgChart1"/>
    <dgm:cxn modelId="{F2536483-0E5D-44A8-873D-4017E7BA7714}" type="presParOf" srcId="{2C4F6A6F-D776-49AE-BF12-3A525B4F42B9}" destId="{893B0839-4048-405B-8D0F-C05E7B895C08}" srcOrd="1" destOrd="0" presId="urn:microsoft.com/office/officeart/2005/8/layout/orgChart1"/>
    <dgm:cxn modelId="{B75B177C-AD3E-4803-942F-176CD6C6A8E7}" type="presParOf" srcId="{2C4F6A6F-D776-49AE-BF12-3A525B4F42B9}" destId="{87C11AD4-75AD-4029-9FBD-53CA3B53EB55}" srcOrd="2" destOrd="0" presId="urn:microsoft.com/office/officeart/2005/8/layout/orgChart1"/>
    <dgm:cxn modelId="{A0C21580-2D7B-4162-B056-CE0C842D4D1B}" type="presParOf" srcId="{EC34D6C9-E2EE-4164-9A64-D01FDBECE3F8}" destId="{F69EEDA8-9567-42CC-9112-111738129BE7}" srcOrd="2" destOrd="0" presId="urn:microsoft.com/office/officeart/2005/8/layout/orgChart1"/>
    <dgm:cxn modelId="{B40CD52D-FE88-48EC-8968-DA536DAEA3AC}" type="presParOf" srcId="{EC34D6C9-E2EE-4164-9A64-D01FDBECE3F8}" destId="{DF859D5F-0D06-4B1A-9DD2-CA057DE577DC}" srcOrd="3" destOrd="0" presId="urn:microsoft.com/office/officeart/2005/8/layout/orgChart1"/>
    <dgm:cxn modelId="{E3087D95-B52B-4ACA-863D-0C78AE69FE0C}" type="presParOf" srcId="{DF859D5F-0D06-4B1A-9DD2-CA057DE577DC}" destId="{00AE2F07-98E0-4318-81E4-1EAEFD56F810}" srcOrd="0" destOrd="0" presId="urn:microsoft.com/office/officeart/2005/8/layout/orgChart1"/>
    <dgm:cxn modelId="{7E3A8533-1842-4177-92C8-F407A53BCB74}" type="presParOf" srcId="{00AE2F07-98E0-4318-81E4-1EAEFD56F810}" destId="{45452F55-DA4B-4CF1-B8C9-9D131B82C15F}" srcOrd="0" destOrd="0" presId="urn:microsoft.com/office/officeart/2005/8/layout/orgChart1"/>
    <dgm:cxn modelId="{43155F4B-829B-4979-968C-F1C9D8057566}" type="presParOf" srcId="{00AE2F07-98E0-4318-81E4-1EAEFD56F810}" destId="{BE448B71-95F7-4C01-B1EF-656585C1DE9F}" srcOrd="1" destOrd="0" presId="urn:microsoft.com/office/officeart/2005/8/layout/orgChart1"/>
    <dgm:cxn modelId="{F5C1C08A-5C84-4ACB-9D65-BFED86F6C605}" type="presParOf" srcId="{DF859D5F-0D06-4B1A-9DD2-CA057DE577DC}" destId="{E0BF60B2-969F-4158-B78C-F60C19B30454}" srcOrd="1" destOrd="0" presId="urn:microsoft.com/office/officeart/2005/8/layout/orgChart1"/>
    <dgm:cxn modelId="{27EB9F18-9254-4C7F-88B2-E3DD8B2F03F6}" type="presParOf" srcId="{DF859D5F-0D06-4B1A-9DD2-CA057DE577DC}" destId="{FBE7C3FC-767C-468D-AE27-40FFEE41A8A8}" srcOrd="2" destOrd="0" presId="urn:microsoft.com/office/officeart/2005/8/layout/orgChart1"/>
    <dgm:cxn modelId="{D382A570-6C33-4FDB-9334-3634A2EDBAD4}" type="presParOf" srcId="{EC34D6C9-E2EE-4164-9A64-D01FDBECE3F8}" destId="{832F2DA1-4B04-4F3B-896F-155C25AF0DC8}" srcOrd="4" destOrd="0" presId="urn:microsoft.com/office/officeart/2005/8/layout/orgChart1"/>
    <dgm:cxn modelId="{BE50AE7E-C96B-4752-8252-51F2DB9CCD1F}" type="presParOf" srcId="{EC34D6C9-E2EE-4164-9A64-D01FDBECE3F8}" destId="{3399BA6C-09A1-4391-998B-3E127BC5E1E3}" srcOrd="5" destOrd="0" presId="urn:microsoft.com/office/officeart/2005/8/layout/orgChart1"/>
    <dgm:cxn modelId="{C3A9D9D8-9F8D-4E67-AE4F-002FDF443644}" type="presParOf" srcId="{3399BA6C-09A1-4391-998B-3E127BC5E1E3}" destId="{B42A161F-0EF0-4692-8787-BCD193645024}" srcOrd="0" destOrd="0" presId="urn:microsoft.com/office/officeart/2005/8/layout/orgChart1"/>
    <dgm:cxn modelId="{E44C7561-24E7-4B51-87AF-BE6284E856C6}" type="presParOf" srcId="{B42A161F-0EF0-4692-8787-BCD193645024}" destId="{7AE8ED15-1329-4C7F-868A-5A6EF10B3337}" srcOrd="0" destOrd="0" presId="urn:microsoft.com/office/officeart/2005/8/layout/orgChart1"/>
    <dgm:cxn modelId="{C99F602A-C67B-42B5-B798-41EE83582A43}" type="presParOf" srcId="{B42A161F-0EF0-4692-8787-BCD193645024}" destId="{2BA97663-F3C6-4940-B0EB-1C0F34ED6C41}" srcOrd="1" destOrd="0" presId="urn:microsoft.com/office/officeart/2005/8/layout/orgChart1"/>
    <dgm:cxn modelId="{466A4E59-F620-4A91-8F22-D3248662016A}" type="presParOf" srcId="{3399BA6C-09A1-4391-998B-3E127BC5E1E3}" destId="{28B3F8D8-1D09-4659-8FA4-A137AF9EC47A}" srcOrd="1" destOrd="0" presId="urn:microsoft.com/office/officeart/2005/8/layout/orgChart1"/>
    <dgm:cxn modelId="{C013A16A-8644-4441-A347-14F494E3C604}" type="presParOf" srcId="{3399BA6C-09A1-4391-998B-3E127BC5E1E3}" destId="{DCD100C1-463D-4FB5-A21A-93EFDD0CD4AD}" srcOrd="2" destOrd="0" presId="urn:microsoft.com/office/officeart/2005/8/layout/orgChart1"/>
    <dgm:cxn modelId="{4E08654F-C380-4C04-8925-A7B92685B393}" type="presParOf" srcId="{EC34D6C9-E2EE-4164-9A64-D01FDBECE3F8}" destId="{79E8509D-D200-4AD2-9176-BA1C925FA3FE}" srcOrd="6" destOrd="0" presId="urn:microsoft.com/office/officeart/2005/8/layout/orgChart1"/>
    <dgm:cxn modelId="{6680A670-E18F-4CC4-BF6E-0B13A772CC37}" type="presParOf" srcId="{EC34D6C9-E2EE-4164-9A64-D01FDBECE3F8}" destId="{1651CB8F-F8F3-4697-A767-3A8CCA72DE1F}" srcOrd="7" destOrd="0" presId="urn:microsoft.com/office/officeart/2005/8/layout/orgChart1"/>
    <dgm:cxn modelId="{53AB038B-0E1B-4ADA-9629-AFF79B486D18}" type="presParOf" srcId="{1651CB8F-F8F3-4697-A767-3A8CCA72DE1F}" destId="{EDB371B7-8CE5-4EB1-AD3F-E0F4173FC1DF}" srcOrd="0" destOrd="0" presId="urn:microsoft.com/office/officeart/2005/8/layout/orgChart1"/>
    <dgm:cxn modelId="{FBA3E32C-1CDD-4B93-87E3-3229768345E0}" type="presParOf" srcId="{EDB371B7-8CE5-4EB1-AD3F-E0F4173FC1DF}" destId="{8EFCE613-0888-43C3-A88B-CA08106F9803}" srcOrd="0" destOrd="0" presId="urn:microsoft.com/office/officeart/2005/8/layout/orgChart1"/>
    <dgm:cxn modelId="{5ED45EC7-0C93-4D3D-8F94-2E829C8CF2FF}" type="presParOf" srcId="{EDB371B7-8CE5-4EB1-AD3F-E0F4173FC1DF}" destId="{1F684BA0-1660-4D79-9FD9-76528EB8C18D}" srcOrd="1" destOrd="0" presId="urn:microsoft.com/office/officeart/2005/8/layout/orgChart1"/>
    <dgm:cxn modelId="{DD4ACBBC-4364-443A-B23D-AA7CAEFBDF44}" type="presParOf" srcId="{1651CB8F-F8F3-4697-A767-3A8CCA72DE1F}" destId="{289A3F5D-28EA-4566-A470-4B01F223C54F}" srcOrd="1" destOrd="0" presId="urn:microsoft.com/office/officeart/2005/8/layout/orgChart1"/>
    <dgm:cxn modelId="{D17530B7-D4CC-4024-9B82-1F540D2082FF}" type="presParOf" srcId="{1651CB8F-F8F3-4697-A767-3A8CCA72DE1F}" destId="{1B8F0675-C087-4017-AD83-CA4E2F2240FC}" srcOrd="2" destOrd="0" presId="urn:microsoft.com/office/officeart/2005/8/layout/orgChart1"/>
    <dgm:cxn modelId="{074AF92B-009A-4A42-8F98-2532AF27DF3A}" type="presParOf" srcId="{EC34D6C9-E2EE-4164-9A64-D01FDBECE3F8}" destId="{4F9CEBCB-3E07-4D52-B4A4-6B8EBED17822}" srcOrd="8" destOrd="0" presId="urn:microsoft.com/office/officeart/2005/8/layout/orgChart1"/>
    <dgm:cxn modelId="{FF4301D7-9E7B-4399-8BD9-553D676FDC6F}" type="presParOf" srcId="{EC34D6C9-E2EE-4164-9A64-D01FDBECE3F8}" destId="{2A4E7294-7F95-4A1D-82D5-DA3C56EC944D}" srcOrd="9" destOrd="0" presId="urn:microsoft.com/office/officeart/2005/8/layout/orgChart1"/>
    <dgm:cxn modelId="{A427E40B-590B-494B-A186-DB3CD3329524}" type="presParOf" srcId="{2A4E7294-7F95-4A1D-82D5-DA3C56EC944D}" destId="{DC2D1273-8E0E-47E3-8C1A-51D464495D74}" srcOrd="0" destOrd="0" presId="urn:microsoft.com/office/officeart/2005/8/layout/orgChart1"/>
    <dgm:cxn modelId="{473A260D-C6A0-4C35-B6AB-15F64730D8B8}" type="presParOf" srcId="{DC2D1273-8E0E-47E3-8C1A-51D464495D74}" destId="{997E4C9A-B4F3-4755-8B1F-D7881B3DF5B8}" srcOrd="0" destOrd="0" presId="urn:microsoft.com/office/officeart/2005/8/layout/orgChart1"/>
    <dgm:cxn modelId="{F5829D72-4BBD-4E1B-9DF3-B8D5820E32E2}" type="presParOf" srcId="{DC2D1273-8E0E-47E3-8C1A-51D464495D74}" destId="{C9DED0BE-5CF6-4D57-9E41-34DA0ACE07A9}" srcOrd="1" destOrd="0" presId="urn:microsoft.com/office/officeart/2005/8/layout/orgChart1"/>
    <dgm:cxn modelId="{E4FECD53-C2A8-46DE-849A-9D28FFABC7C8}" type="presParOf" srcId="{2A4E7294-7F95-4A1D-82D5-DA3C56EC944D}" destId="{271AFECE-4DA6-47D9-ACCC-44A5BFC0533D}" srcOrd="1" destOrd="0" presId="urn:microsoft.com/office/officeart/2005/8/layout/orgChart1"/>
    <dgm:cxn modelId="{6582BA6C-41E2-4967-8F1D-CFE8DC50394B}" type="presParOf" srcId="{2A4E7294-7F95-4A1D-82D5-DA3C56EC944D}" destId="{8DECCB34-46D5-4133-BD81-C515C2455D15}" srcOrd="2" destOrd="0" presId="urn:microsoft.com/office/officeart/2005/8/layout/orgChart1"/>
    <dgm:cxn modelId="{1BB7C8F9-5C2D-42AA-886F-38F1B8012C99}" type="presParOf" srcId="{EC34D6C9-E2EE-4164-9A64-D01FDBECE3F8}" destId="{BA26E419-F17E-4A9E-9064-C383D5C7FB4E}" srcOrd="10" destOrd="0" presId="urn:microsoft.com/office/officeart/2005/8/layout/orgChart1"/>
    <dgm:cxn modelId="{EC7B6935-02C2-4174-9C1E-49CF58BB4D0C}" type="presParOf" srcId="{EC34D6C9-E2EE-4164-9A64-D01FDBECE3F8}" destId="{8537CE07-4A36-4091-852A-7C2EE7665B7A}" srcOrd="11" destOrd="0" presId="urn:microsoft.com/office/officeart/2005/8/layout/orgChart1"/>
    <dgm:cxn modelId="{B9CB33DE-6D03-42AD-9F51-882712B1CF41}" type="presParOf" srcId="{8537CE07-4A36-4091-852A-7C2EE7665B7A}" destId="{6EDD9E3F-3217-4427-A9ED-A2EC7C58805F}" srcOrd="0" destOrd="0" presId="urn:microsoft.com/office/officeart/2005/8/layout/orgChart1"/>
    <dgm:cxn modelId="{E8567E80-B94A-48DF-8811-61411A2A1094}" type="presParOf" srcId="{6EDD9E3F-3217-4427-A9ED-A2EC7C58805F}" destId="{7ACDBADC-81D5-42AD-8E9A-0C6426EACE37}" srcOrd="0" destOrd="0" presId="urn:microsoft.com/office/officeart/2005/8/layout/orgChart1"/>
    <dgm:cxn modelId="{2811AA98-B3F2-47BB-9AE4-88AD86654E90}" type="presParOf" srcId="{6EDD9E3F-3217-4427-A9ED-A2EC7C58805F}" destId="{2CAEAFB1-5FAB-4C69-A903-8041026D7438}" srcOrd="1" destOrd="0" presId="urn:microsoft.com/office/officeart/2005/8/layout/orgChart1"/>
    <dgm:cxn modelId="{1D656388-D93E-4AC4-83D5-FE50BD449FA2}" type="presParOf" srcId="{8537CE07-4A36-4091-852A-7C2EE7665B7A}" destId="{FF929CCC-95F7-40DA-9C98-51C4CF0CEE3A}" srcOrd="1" destOrd="0" presId="urn:microsoft.com/office/officeart/2005/8/layout/orgChart1"/>
    <dgm:cxn modelId="{DCC9915B-30A4-41C4-9C44-004B547B5A8D}" type="presParOf" srcId="{8537CE07-4A36-4091-852A-7C2EE7665B7A}" destId="{6A183D8B-5133-4ED2-A973-F2FA2B50E928}" srcOrd="2" destOrd="0" presId="urn:microsoft.com/office/officeart/2005/8/layout/orgChart1"/>
    <dgm:cxn modelId="{C96AAFD9-73A9-4926-96C1-B532ED37B83C}" type="presParOf" srcId="{EC34D6C9-E2EE-4164-9A64-D01FDBECE3F8}" destId="{169C6095-E691-418B-B746-91B0AF7A2B03}" srcOrd="12" destOrd="0" presId="urn:microsoft.com/office/officeart/2005/8/layout/orgChart1"/>
    <dgm:cxn modelId="{DFE148F9-C9BA-4174-9107-A9CE123D1D32}" type="presParOf" srcId="{EC34D6C9-E2EE-4164-9A64-D01FDBECE3F8}" destId="{CA3E5976-D9E5-45B8-A11B-6B266918FAA3}" srcOrd="13" destOrd="0" presId="urn:microsoft.com/office/officeart/2005/8/layout/orgChart1"/>
    <dgm:cxn modelId="{265E42E5-2F2D-4780-A131-3C50E1B858FD}" type="presParOf" srcId="{CA3E5976-D9E5-45B8-A11B-6B266918FAA3}" destId="{C7BE2543-9ABE-4FA0-B259-D9B1D27B7F22}" srcOrd="0" destOrd="0" presId="urn:microsoft.com/office/officeart/2005/8/layout/orgChart1"/>
    <dgm:cxn modelId="{16487A55-6B0A-42B6-830D-BC96334484D4}" type="presParOf" srcId="{C7BE2543-9ABE-4FA0-B259-D9B1D27B7F22}" destId="{83F60BAF-4D3C-4FCB-9CB5-71AD72A8DC2B}" srcOrd="0" destOrd="0" presId="urn:microsoft.com/office/officeart/2005/8/layout/orgChart1"/>
    <dgm:cxn modelId="{9F765700-B189-4F12-9E57-8BD28E62D7D5}" type="presParOf" srcId="{C7BE2543-9ABE-4FA0-B259-D9B1D27B7F22}" destId="{5B814F46-9E5C-4F68-B4EC-2E5CCC80D278}" srcOrd="1" destOrd="0" presId="urn:microsoft.com/office/officeart/2005/8/layout/orgChart1"/>
    <dgm:cxn modelId="{BC8CC785-89CF-4B63-A55F-355173FC6681}" type="presParOf" srcId="{CA3E5976-D9E5-45B8-A11B-6B266918FAA3}" destId="{94ADAADE-B788-4B06-9859-77249A5EBCB2}" srcOrd="1" destOrd="0" presId="urn:microsoft.com/office/officeart/2005/8/layout/orgChart1"/>
    <dgm:cxn modelId="{73E53BDC-9938-4038-9CF5-2C413F90DE92}" type="presParOf" srcId="{CA3E5976-D9E5-45B8-A11B-6B266918FAA3}" destId="{39895D62-B462-45B5-93B5-285951232D3A}" srcOrd="2" destOrd="0" presId="urn:microsoft.com/office/officeart/2005/8/layout/orgChart1"/>
    <dgm:cxn modelId="{CD84165E-0B0B-4FA1-8E3C-AA3C4C07BD36}" type="presParOf" srcId="{EC34D6C9-E2EE-4164-9A64-D01FDBECE3F8}" destId="{CA1C1DE5-05F0-4A34-99C9-E164D25BCBA1}" srcOrd="14" destOrd="0" presId="urn:microsoft.com/office/officeart/2005/8/layout/orgChart1"/>
    <dgm:cxn modelId="{986853A7-11D0-43CA-AC24-FF88AB321A6A}" type="presParOf" srcId="{EC34D6C9-E2EE-4164-9A64-D01FDBECE3F8}" destId="{E8B40298-4898-4B3A-89BC-D03F91253C2C}" srcOrd="15" destOrd="0" presId="urn:microsoft.com/office/officeart/2005/8/layout/orgChart1"/>
    <dgm:cxn modelId="{6C5F6BD3-7B54-4544-B7EE-AAB4A87744AB}" type="presParOf" srcId="{E8B40298-4898-4B3A-89BC-D03F91253C2C}" destId="{427E2EDB-F476-49B4-ABC5-3EE4280BBB51}" srcOrd="0" destOrd="0" presId="urn:microsoft.com/office/officeart/2005/8/layout/orgChart1"/>
    <dgm:cxn modelId="{6EFF1F9D-6C9E-438D-93BB-00FCE7BA8035}" type="presParOf" srcId="{427E2EDB-F476-49B4-ABC5-3EE4280BBB51}" destId="{52D14353-F516-4DF7-926E-8A1F0B1AF587}" srcOrd="0" destOrd="0" presId="urn:microsoft.com/office/officeart/2005/8/layout/orgChart1"/>
    <dgm:cxn modelId="{D72DB595-7B77-4AC2-933E-1385CCF8D0F8}" type="presParOf" srcId="{427E2EDB-F476-49B4-ABC5-3EE4280BBB51}" destId="{ABAC0E1A-6F1A-4F9C-8F96-1C83A5C6FA0B}" srcOrd="1" destOrd="0" presId="urn:microsoft.com/office/officeart/2005/8/layout/orgChart1"/>
    <dgm:cxn modelId="{27343903-CAD9-40B8-A378-FEEC6061CE39}" type="presParOf" srcId="{E8B40298-4898-4B3A-89BC-D03F91253C2C}" destId="{A7493803-F3EA-420F-B007-4EF98BDEC097}" srcOrd="1" destOrd="0" presId="urn:microsoft.com/office/officeart/2005/8/layout/orgChart1"/>
    <dgm:cxn modelId="{326F0E1F-65A2-40D5-B489-D613410E0376}" type="presParOf" srcId="{E8B40298-4898-4B3A-89BC-D03F91253C2C}" destId="{EA6136D5-F879-4DC2-9275-0DDBF08BAB19}" srcOrd="2" destOrd="0" presId="urn:microsoft.com/office/officeart/2005/8/layout/orgChart1"/>
    <dgm:cxn modelId="{0EC70EE7-4C13-49BC-9095-3085BD52BCFB}" type="presParOf" srcId="{FBEDF354-4AB7-4D88-9F9F-38E999D759BC}" destId="{52C25AC4-0A92-4D0B-89A4-B56DDF75DAC1}" srcOrd="2" destOrd="0" presId="urn:microsoft.com/office/officeart/2005/8/layout/orgChart1"/>
    <dgm:cxn modelId="{899EFEC5-842A-4472-ACAA-0B0DEB946D77}" type="presParOf" srcId="{4552F86E-171D-4D57-BF2B-065C2DC6E063}" destId="{2C5D9233-E922-480E-A546-C8C0865DBB32}" srcOrd="4" destOrd="0" presId="urn:microsoft.com/office/officeart/2005/8/layout/orgChart1"/>
    <dgm:cxn modelId="{68AF9F51-779F-49F5-8A0F-95608877B687}" type="presParOf" srcId="{4552F86E-171D-4D57-BF2B-065C2DC6E063}" destId="{6CE57BD3-4BD5-484E-A55F-A7023B984435}" srcOrd="5" destOrd="0" presId="urn:microsoft.com/office/officeart/2005/8/layout/orgChart1"/>
    <dgm:cxn modelId="{E2B2CDF9-6C93-4993-B1E7-8B2387744B1B}" type="presParOf" srcId="{6CE57BD3-4BD5-484E-A55F-A7023B984435}" destId="{104BE414-ECCF-4242-8587-BE6B356FA9BE}" srcOrd="0" destOrd="0" presId="urn:microsoft.com/office/officeart/2005/8/layout/orgChart1"/>
    <dgm:cxn modelId="{F1296EE2-59AB-452B-8B37-5FF1F74A2195}" type="presParOf" srcId="{104BE414-ECCF-4242-8587-BE6B356FA9BE}" destId="{C211D1E2-A010-4A2B-86E8-0F02FDA687CB}" srcOrd="0" destOrd="0" presId="urn:microsoft.com/office/officeart/2005/8/layout/orgChart1"/>
    <dgm:cxn modelId="{6F336CBA-7540-48C7-9529-7CC36D1E0260}" type="presParOf" srcId="{104BE414-ECCF-4242-8587-BE6B356FA9BE}" destId="{42FEA8FD-5BEE-4922-B4D4-26BADF860916}" srcOrd="1" destOrd="0" presId="urn:microsoft.com/office/officeart/2005/8/layout/orgChart1"/>
    <dgm:cxn modelId="{89E3C51A-381E-425C-BDF0-0FB9DD160F95}" type="presParOf" srcId="{6CE57BD3-4BD5-484E-A55F-A7023B984435}" destId="{09694D4B-A9FB-4824-ADDB-ED96EB7988DA}" srcOrd="1" destOrd="0" presId="urn:microsoft.com/office/officeart/2005/8/layout/orgChart1"/>
    <dgm:cxn modelId="{C49A263A-2718-4CB0-8F17-1DB6D2F8EEA7}" type="presParOf" srcId="{09694D4B-A9FB-4824-ADDB-ED96EB7988DA}" destId="{685492E5-E487-4FCC-A027-2CD6D00682E2}" srcOrd="0" destOrd="0" presId="urn:microsoft.com/office/officeart/2005/8/layout/orgChart1"/>
    <dgm:cxn modelId="{FC8CD7C0-3FA2-404A-9848-C4C00270388D}" type="presParOf" srcId="{09694D4B-A9FB-4824-ADDB-ED96EB7988DA}" destId="{846DC0BB-8C59-466D-92BA-4BC9EB30519F}" srcOrd="1" destOrd="0" presId="urn:microsoft.com/office/officeart/2005/8/layout/orgChart1"/>
    <dgm:cxn modelId="{80EA2630-E2E6-4B2D-A329-94CE39EFBC9A}" type="presParOf" srcId="{846DC0BB-8C59-466D-92BA-4BC9EB30519F}" destId="{6C21F93F-04F9-41C0-AE02-DD31844589FD}" srcOrd="0" destOrd="0" presId="urn:microsoft.com/office/officeart/2005/8/layout/orgChart1"/>
    <dgm:cxn modelId="{CBFD5C49-12DB-4CB2-BE61-BBDF8425507F}" type="presParOf" srcId="{6C21F93F-04F9-41C0-AE02-DD31844589FD}" destId="{4FAFC1BF-9ED1-4A9A-8A38-0142B92A2210}" srcOrd="0" destOrd="0" presId="urn:microsoft.com/office/officeart/2005/8/layout/orgChart1"/>
    <dgm:cxn modelId="{47DB7E08-CDDF-45DA-A102-3CAA9D5F4C80}" type="presParOf" srcId="{6C21F93F-04F9-41C0-AE02-DD31844589FD}" destId="{3BDCA4B3-95F5-4122-B29D-B6898E1DC8AB}" srcOrd="1" destOrd="0" presId="urn:microsoft.com/office/officeart/2005/8/layout/orgChart1"/>
    <dgm:cxn modelId="{FF7FA9E9-3306-4E74-83E1-81EF63B77CB9}" type="presParOf" srcId="{846DC0BB-8C59-466D-92BA-4BC9EB30519F}" destId="{546A1D4F-3936-4EFF-A5F1-E273C84E0AF1}" srcOrd="1" destOrd="0" presId="urn:microsoft.com/office/officeart/2005/8/layout/orgChart1"/>
    <dgm:cxn modelId="{17C18065-21CF-48DB-9B69-D4D858D3A297}" type="presParOf" srcId="{846DC0BB-8C59-466D-92BA-4BC9EB30519F}" destId="{FFCEBF8F-51CE-458A-BD72-485AD79F9DE5}" srcOrd="2" destOrd="0" presId="urn:microsoft.com/office/officeart/2005/8/layout/orgChart1"/>
    <dgm:cxn modelId="{E8991DAB-FAEC-4141-B844-177047F7F3D7}" type="presParOf" srcId="{09694D4B-A9FB-4824-ADDB-ED96EB7988DA}" destId="{A922FF0C-AF4D-4C6A-83F8-6D8F9370D588}" srcOrd="2" destOrd="0" presId="urn:microsoft.com/office/officeart/2005/8/layout/orgChart1"/>
    <dgm:cxn modelId="{F60FA68B-AE33-459A-B0E5-B67B8480FCA5}" type="presParOf" srcId="{09694D4B-A9FB-4824-ADDB-ED96EB7988DA}" destId="{BF1C02E5-2EE8-4554-9A71-16AB32D82048}" srcOrd="3" destOrd="0" presId="urn:microsoft.com/office/officeart/2005/8/layout/orgChart1"/>
    <dgm:cxn modelId="{9319E81C-018B-4CD1-8236-535DCDDD2EA8}" type="presParOf" srcId="{BF1C02E5-2EE8-4554-9A71-16AB32D82048}" destId="{894064B0-042C-4C9F-A2F2-199ABA98D83E}" srcOrd="0" destOrd="0" presId="urn:microsoft.com/office/officeart/2005/8/layout/orgChart1"/>
    <dgm:cxn modelId="{C3E003E9-1326-4698-8C96-7106CB8FDC02}" type="presParOf" srcId="{894064B0-042C-4C9F-A2F2-199ABA98D83E}" destId="{8BD37282-C684-4FF1-96E3-602FA32C039B}" srcOrd="0" destOrd="0" presId="urn:microsoft.com/office/officeart/2005/8/layout/orgChart1"/>
    <dgm:cxn modelId="{1905C1E2-11B5-466C-BA86-AF7A3EEC12E4}" type="presParOf" srcId="{894064B0-042C-4C9F-A2F2-199ABA98D83E}" destId="{8A9B8A04-97B2-4C21-870A-5CEF701FDB70}" srcOrd="1" destOrd="0" presId="urn:microsoft.com/office/officeart/2005/8/layout/orgChart1"/>
    <dgm:cxn modelId="{4D743AAA-0116-4F7D-8614-B81FAC2EFAD7}" type="presParOf" srcId="{BF1C02E5-2EE8-4554-9A71-16AB32D82048}" destId="{8CECDD18-7238-46AE-8959-7BBCFAC49A00}" srcOrd="1" destOrd="0" presId="urn:microsoft.com/office/officeart/2005/8/layout/orgChart1"/>
    <dgm:cxn modelId="{F5F815B9-ABDB-4A0E-A7CC-01F4F4342AE6}" type="presParOf" srcId="{BF1C02E5-2EE8-4554-9A71-16AB32D82048}" destId="{215A45E4-67C2-4DC8-9797-3CDB480769B9}" srcOrd="2" destOrd="0" presId="urn:microsoft.com/office/officeart/2005/8/layout/orgChart1"/>
    <dgm:cxn modelId="{A4473171-DA63-4341-A5C8-1FC36C77AAA9}" type="presParOf" srcId="{09694D4B-A9FB-4824-ADDB-ED96EB7988DA}" destId="{6B1D8C3D-5FDF-415B-A981-FE5657918B8F}" srcOrd="4" destOrd="0" presId="urn:microsoft.com/office/officeart/2005/8/layout/orgChart1"/>
    <dgm:cxn modelId="{BD687B97-FB35-4C7C-A724-FA1E73549062}" type="presParOf" srcId="{09694D4B-A9FB-4824-ADDB-ED96EB7988DA}" destId="{ABE97AE2-878A-426D-9C27-09680EB3F456}" srcOrd="5" destOrd="0" presId="urn:microsoft.com/office/officeart/2005/8/layout/orgChart1"/>
    <dgm:cxn modelId="{DB9E2450-3D85-4BBB-A04C-3EC1F6D8FEF9}" type="presParOf" srcId="{ABE97AE2-878A-426D-9C27-09680EB3F456}" destId="{BB4845B3-674E-4EA6-8D6C-8246974E5B8D}" srcOrd="0" destOrd="0" presId="urn:microsoft.com/office/officeart/2005/8/layout/orgChart1"/>
    <dgm:cxn modelId="{60007A78-0F8A-4F1E-86A9-3C4573F758E1}" type="presParOf" srcId="{BB4845B3-674E-4EA6-8D6C-8246974E5B8D}" destId="{C56D3BAF-B77D-4972-B609-B3A635ED9388}" srcOrd="0" destOrd="0" presId="urn:microsoft.com/office/officeart/2005/8/layout/orgChart1"/>
    <dgm:cxn modelId="{5096E88D-409A-4A6E-A756-958DD67073BC}" type="presParOf" srcId="{BB4845B3-674E-4EA6-8D6C-8246974E5B8D}" destId="{0791DD61-4954-4B15-8EBE-F685297D5DD7}" srcOrd="1" destOrd="0" presId="urn:microsoft.com/office/officeart/2005/8/layout/orgChart1"/>
    <dgm:cxn modelId="{420E1A48-A897-4F14-A2B1-3DFCF408C808}" type="presParOf" srcId="{ABE97AE2-878A-426D-9C27-09680EB3F456}" destId="{903DA0D7-84E3-4563-954B-885F3D386753}" srcOrd="1" destOrd="0" presId="urn:microsoft.com/office/officeart/2005/8/layout/orgChart1"/>
    <dgm:cxn modelId="{FB318104-53B8-48F5-B714-15747E8E6B7E}" type="presParOf" srcId="{ABE97AE2-878A-426D-9C27-09680EB3F456}" destId="{2570642E-6630-4A94-B13D-A94D366B03B8}" srcOrd="2" destOrd="0" presId="urn:microsoft.com/office/officeart/2005/8/layout/orgChart1"/>
    <dgm:cxn modelId="{04AC9503-D38E-40C9-B315-9B3CDD38C302}" type="presParOf" srcId="{6CE57BD3-4BD5-484E-A55F-A7023B984435}" destId="{F9721ED2-30BA-4072-BC74-1F304C8FC0E5}" srcOrd="2" destOrd="0" presId="urn:microsoft.com/office/officeart/2005/8/layout/orgChart1"/>
    <dgm:cxn modelId="{8381E839-B66D-49AA-AC20-1065F755A262}" type="presParOf" srcId="{4552F86E-171D-4D57-BF2B-065C2DC6E063}" destId="{C2EFA9A1-6CA6-4941-8A47-8DE384814D70}" srcOrd="6" destOrd="0" presId="urn:microsoft.com/office/officeart/2005/8/layout/orgChart1"/>
    <dgm:cxn modelId="{D21C598C-A01B-407A-85EB-1556A27A11C2}" type="presParOf" srcId="{4552F86E-171D-4D57-BF2B-065C2DC6E063}" destId="{04CD6D5F-5B18-46E1-AE1A-763A71B91ADF}" srcOrd="7" destOrd="0" presId="urn:microsoft.com/office/officeart/2005/8/layout/orgChart1"/>
    <dgm:cxn modelId="{B3AA416B-17FE-4EEB-A258-424DDF737928}" type="presParOf" srcId="{04CD6D5F-5B18-46E1-AE1A-763A71B91ADF}" destId="{AB727BE8-19AD-4B5F-AC95-5EEA03AECEDF}" srcOrd="0" destOrd="0" presId="urn:microsoft.com/office/officeart/2005/8/layout/orgChart1"/>
    <dgm:cxn modelId="{279FEDD0-3170-4AC7-B4DE-573C3C82F61E}" type="presParOf" srcId="{AB727BE8-19AD-4B5F-AC95-5EEA03AECEDF}" destId="{B3E31A91-F33C-4639-BCEB-413A151701C6}" srcOrd="0" destOrd="0" presId="urn:microsoft.com/office/officeart/2005/8/layout/orgChart1"/>
    <dgm:cxn modelId="{99EC204F-38D3-4E4A-A9B6-8583463E332E}" type="presParOf" srcId="{AB727BE8-19AD-4B5F-AC95-5EEA03AECEDF}" destId="{B9DF87EC-68ED-4CC6-A058-18BDC7942E84}" srcOrd="1" destOrd="0" presId="urn:microsoft.com/office/officeart/2005/8/layout/orgChart1"/>
    <dgm:cxn modelId="{DE9EB4E8-5A01-45B8-94D9-A6471D9AC9D6}" type="presParOf" srcId="{04CD6D5F-5B18-46E1-AE1A-763A71B91ADF}" destId="{D24FBB85-E511-4590-9D6F-12A29F347C98}" srcOrd="1" destOrd="0" presId="urn:microsoft.com/office/officeart/2005/8/layout/orgChart1"/>
    <dgm:cxn modelId="{CDE080EB-4D65-4E4C-B144-32D1750BD946}" type="presParOf" srcId="{D24FBB85-E511-4590-9D6F-12A29F347C98}" destId="{54C4BB8C-F6D0-4F87-B18F-75C017829760}" srcOrd="0" destOrd="0" presId="urn:microsoft.com/office/officeart/2005/8/layout/orgChart1"/>
    <dgm:cxn modelId="{9F61D5B7-1426-4C13-AE79-A29085CCB71A}" type="presParOf" srcId="{D24FBB85-E511-4590-9D6F-12A29F347C98}" destId="{B816229D-AE20-4780-9917-0781DD7B221F}" srcOrd="1" destOrd="0" presId="urn:microsoft.com/office/officeart/2005/8/layout/orgChart1"/>
    <dgm:cxn modelId="{D453AC08-FF26-4289-BEB3-0815182C05E4}" type="presParOf" srcId="{B816229D-AE20-4780-9917-0781DD7B221F}" destId="{5B2FE90E-D75F-4C95-8206-F91D8E9F481C}" srcOrd="0" destOrd="0" presId="urn:microsoft.com/office/officeart/2005/8/layout/orgChart1"/>
    <dgm:cxn modelId="{FFEA3BBA-6903-42D9-918A-CA867A1AA9C6}" type="presParOf" srcId="{5B2FE90E-D75F-4C95-8206-F91D8E9F481C}" destId="{11FD429F-9BC4-4863-9443-80F2AF89B2A3}" srcOrd="0" destOrd="0" presId="urn:microsoft.com/office/officeart/2005/8/layout/orgChart1"/>
    <dgm:cxn modelId="{061797B6-8CE8-426C-9ECF-8DDC0AE4DC2B}" type="presParOf" srcId="{5B2FE90E-D75F-4C95-8206-F91D8E9F481C}" destId="{98046607-DB45-41FD-8C6F-BF2AA90B9F97}" srcOrd="1" destOrd="0" presId="urn:microsoft.com/office/officeart/2005/8/layout/orgChart1"/>
    <dgm:cxn modelId="{1F7F589E-CF9C-4F0A-A85F-600F20CF076E}" type="presParOf" srcId="{B816229D-AE20-4780-9917-0781DD7B221F}" destId="{E876CA97-3C94-4E98-B1EC-666D8FD0C1D0}" srcOrd="1" destOrd="0" presId="urn:microsoft.com/office/officeart/2005/8/layout/orgChart1"/>
    <dgm:cxn modelId="{4A742D65-E384-41C4-9256-0FBA2E1DDE78}" type="presParOf" srcId="{B816229D-AE20-4780-9917-0781DD7B221F}" destId="{50DFC69F-87A7-4B3F-823E-C249A814A9A8}" srcOrd="2" destOrd="0" presId="urn:microsoft.com/office/officeart/2005/8/layout/orgChart1"/>
    <dgm:cxn modelId="{A070CD88-1901-4D73-98B5-D1C1C9FD44DC}" type="presParOf" srcId="{D24FBB85-E511-4590-9D6F-12A29F347C98}" destId="{74772F9A-23A0-4C4D-8AD6-E7024D32B5BA}" srcOrd="2" destOrd="0" presId="urn:microsoft.com/office/officeart/2005/8/layout/orgChart1"/>
    <dgm:cxn modelId="{F4C67641-1A95-4E5B-ABE7-1500A3D7FAF8}" type="presParOf" srcId="{D24FBB85-E511-4590-9D6F-12A29F347C98}" destId="{92EF0D6F-D56C-4F85-BA0B-36697B119A7B}" srcOrd="3" destOrd="0" presId="urn:microsoft.com/office/officeart/2005/8/layout/orgChart1"/>
    <dgm:cxn modelId="{6D6B7252-DCD4-4096-A6BF-BC41BABB8821}" type="presParOf" srcId="{92EF0D6F-D56C-4F85-BA0B-36697B119A7B}" destId="{5EC25DCA-8EED-4869-AAEB-F41F2B2965BC}" srcOrd="0" destOrd="0" presId="urn:microsoft.com/office/officeart/2005/8/layout/orgChart1"/>
    <dgm:cxn modelId="{09DA1754-20F8-4521-BF23-CD2EFE1B9C83}" type="presParOf" srcId="{5EC25DCA-8EED-4869-AAEB-F41F2B2965BC}" destId="{92E984C5-60DA-4B4D-A7C7-AF061BF5E9C5}" srcOrd="0" destOrd="0" presId="urn:microsoft.com/office/officeart/2005/8/layout/orgChart1"/>
    <dgm:cxn modelId="{B6CF030C-FA3F-425D-B177-6A97623D99C5}" type="presParOf" srcId="{5EC25DCA-8EED-4869-AAEB-F41F2B2965BC}" destId="{21C97094-45C1-4913-B2BA-8993E5560C69}" srcOrd="1" destOrd="0" presId="urn:microsoft.com/office/officeart/2005/8/layout/orgChart1"/>
    <dgm:cxn modelId="{CB52E29A-C466-48D6-AF56-E5B37C5F4FBE}" type="presParOf" srcId="{92EF0D6F-D56C-4F85-BA0B-36697B119A7B}" destId="{1A17609E-A38B-4E9A-9E4E-7050823C1DAD}" srcOrd="1" destOrd="0" presId="urn:microsoft.com/office/officeart/2005/8/layout/orgChart1"/>
    <dgm:cxn modelId="{93565272-0E8F-4C18-A1E5-EA3444A894D2}" type="presParOf" srcId="{92EF0D6F-D56C-4F85-BA0B-36697B119A7B}" destId="{6A8BBC2F-AA50-408B-A246-C6CE3A199CAF}" srcOrd="2" destOrd="0" presId="urn:microsoft.com/office/officeart/2005/8/layout/orgChart1"/>
    <dgm:cxn modelId="{2E089BD9-4E03-463D-BAF5-F1BAAC7C18F5}" type="presParOf" srcId="{D24FBB85-E511-4590-9D6F-12A29F347C98}" destId="{2725CBCF-AA90-4774-8082-B7AC56D930C9}" srcOrd="4" destOrd="0" presId="urn:microsoft.com/office/officeart/2005/8/layout/orgChart1"/>
    <dgm:cxn modelId="{25435778-9838-4462-850E-DCFF1936E49A}" type="presParOf" srcId="{D24FBB85-E511-4590-9D6F-12A29F347C98}" destId="{3FFBF635-32EE-47F6-8917-C68F1CF9B476}" srcOrd="5" destOrd="0" presId="urn:microsoft.com/office/officeart/2005/8/layout/orgChart1"/>
    <dgm:cxn modelId="{3CB6E33A-8DF7-4A75-8C46-997F60C57056}" type="presParOf" srcId="{3FFBF635-32EE-47F6-8917-C68F1CF9B476}" destId="{9F0C3BC6-92C5-474B-B37F-B0DF8DDB6323}" srcOrd="0" destOrd="0" presId="urn:microsoft.com/office/officeart/2005/8/layout/orgChart1"/>
    <dgm:cxn modelId="{CE68E9E0-1528-4995-8A04-AACD4584CF19}" type="presParOf" srcId="{9F0C3BC6-92C5-474B-B37F-B0DF8DDB6323}" destId="{107CF6F8-3607-4E5D-A586-77A3B6F2BB7F}" srcOrd="0" destOrd="0" presId="urn:microsoft.com/office/officeart/2005/8/layout/orgChart1"/>
    <dgm:cxn modelId="{E51CFBAF-481C-4493-AB62-B4B3BE62B52E}" type="presParOf" srcId="{9F0C3BC6-92C5-474B-B37F-B0DF8DDB6323}" destId="{BDB1747F-67B0-406E-AF2C-2678F824B4B1}" srcOrd="1" destOrd="0" presId="urn:microsoft.com/office/officeart/2005/8/layout/orgChart1"/>
    <dgm:cxn modelId="{9ABFB897-19DF-4EDE-90B3-F34BC4D055D2}" type="presParOf" srcId="{3FFBF635-32EE-47F6-8917-C68F1CF9B476}" destId="{D11A2904-3EF5-4D32-BF5A-9CA86153A499}" srcOrd="1" destOrd="0" presId="urn:microsoft.com/office/officeart/2005/8/layout/orgChart1"/>
    <dgm:cxn modelId="{F07066C3-B827-4B37-861F-0D0E75541C79}" type="presParOf" srcId="{3FFBF635-32EE-47F6-8917-C68F1CF9B476}" destId="{B829701C-E512-43F2-8434-2CEA7CEC7397}" srcOrd="2" destOrd="0" presId="urn:microsoft.com/office/officeart/2005/8/layout/orgChart1"/>
    <dgm:cxn modelId="{6DE0F5B4-3795-44CA-B51B-4BD6C862B0A1}" type="presParOf" srcId="{04CD6D5F-5B18-46E1-AE1A-763A71B91ADF}" destId="{A3A54605-14C5-40E1-ADB9-1BEECB2C3FBE}" srcOrd="2" destOrd="0" presId="urn:microsoft.com/office/officeart/2005/8/layout/orgChart1"/>
    <dgm:cxn modelId="{00F2CBC5-4FEA-4D07-9CAD-ACB5EEF29048}" type="presParOf" srcId="{361B81A5-9CA1-4DBD-9B47-64E00DB700FB}" destId="{53CFD400-2BCD-4F65-AB9D-EA2837642738}" srcOrd="2" destOrd="0" presId="urn:microsoft.com/office/officeart/2005/8/layout/orgChart1"/>
    <dgm:cxn modelId="{1E22282C-9227-4AB3-AE97-204728AEB3E3}" type="presParOf" srcId="{B04A4DB1-8A65-405D-A9FF-F09FD21D735D}" destId="{2FFA2B90-75C6-43E4-930A-FB3DD12CA688}" srcOrd="1" destOrd="0" presId="urn:microsoft.com/office/officeart/2005/8/layout/orgChart1"/>
    <dgm:cxn modelId="{0754F09D-EAC9-4B0B-B6D2-44CBDF038E77}" type="presParOf" srcId="{2FFA2B90-75C6-43E4-930A-FB3DD12CA688}" destId="{C55CCADE-B40F-4A7C-98DB-334BAE8E7D0B}" srcOrd="0" destOrd="0" presId="urn:microsoft.com/office/officeart/2005/8/layout/orgChart1"/>
    <dgm:cxn modelId="{419B4984-8DEC-4355-8EB0-CA9963B450F6}" type="presParOf" srcId="{C55CCADE-B40F-4A7C-98DB-334BAE8E7D0B}" destId="{CFE0302D-132A-40F6-9E58-C3DE72F6041B}" srcOrd="0" destOrd="0" presId="urn:microsoft.com/office/officeart/2005/8/layout/orgChart1"/>
    <dgm:cxn modelId="{98C24624-CE41-4645-BD5B-8B7F5FD372A2}" type="presParOf" srcId="{C55CCADE-B40F-4A7C-98DB-334BAE8E7D0B}" destId="{B0387FB0-5BE2-4445-9B06-67E2E204A777}" srcOrd="1" destOrd="0" presId="urn:microsoft.com/office/officeart/2005/8/layout/orgChart1"/>
    <dgm:cxn modelId="{DB6E4658-CA78-4D55-8C3A-55454C0A0EBB}" type="presParOf" srcId="{2FFA2B90-75C6-43E4-930A-FB3DD12CA688}" destId="{7E4DF024-BF16-4D48-BB87-84444AD61651}" srcOrd="1" destOrd="0" presId="urn:microsoft.com/office/officeart/2005/8/layout/orgChart1"/>
    <dgm:cxn modelId="{76D2FEEB-72EF-408B-A7A7-EB452F304ABC}" type="presParOf" srcId="{2FFA2B90-75C6-43E4-930A-FB3DD12CA688}" destId="{A47D5A6A-3F40-4DB8-BE84-DCAC790668CC}" srcOrd="2" destOrd="0" presId="urn:microsoft.com/office/officeart/2005/8/layout/orgChart1"/>
    <dgm:cxn modelId="{D5D504F4-2DC5-4B0D-9479-D083A14BA2D7}" type="presParOf" srcId="{B04A4DB1-8A65-405D-A9FF-F09FD21D735D}" destId="{D276A2AC-52DA-4408-890D-28472DEBA4D3}" srcOrd="2" destOrd="0" presId="urn:microsoft.com/office/officeart/2005/8/layout/orgChart1"/>
    <dgm:cxn modelId="{8EC3A976-BBE7-46C0-BBC2-5CB9F777CECB}" type="presParOf" srcId="{D276A2AC-52DA-4408-890D-28472DEBA4D3}" destId="{7C9679A5-9FAE-42D2-A4DB-48F245FFC829}" srcOrd="0" destOrd="0" presId="urn:microsoft.com/office/officeart/2005/8/layout/orgChart1"/>
    <dgm:cxn modelId="{93100778-8064-4F76-B8D9-181848725C94}" type="presParOf" srcId="{7C9679A5-9FAE-42D2-A4DB-48F245FFC829}" destId="{E0343302-7065-40EA-B702-53B4E4421E7A}" srcOrd="0" destOrd="0" presId="urn:microsoft.com/office/officeart/2005/8/layout/orgChart1"/>
    <dgm:cxn modelId="{AA93800E-C736-46A3-83D3-D5F5EDA8EC51}" type="presParOf" srcId="{7C9679A5-9FAE-42D2-A4DB-48F245FFC829}" destId="{4034CE09-C5EC-493E-8E31-97A9F25979A0}" srcOrd="1" destOrd="0" presId="urn:microsoft.com/office/officeart/2005/8/layout/orgChart1"/>
    <dgm:cxn modelId="{62C6A35F-D76B-4A0F-9684-8F9C6375BAE8}" type="presParOf" srcId="{D276A2AC-52DA-4408-890D-28472DEBA4D3}" destId="{A3E3C014-7FA5-4780-9C6C-EA97E40DCD5E}" srcOrd="1" destOrd="0" presId="urn:microsoft.com/office/officeart/2005/8/layout/orgChart1"/>
    <dgm:cxn modelId="{DEED6912-B855-48A1-9E41-A70F29E01464}" type="presParOf" srcId="{D276A2AC-52DA-4408-890D-28472DEBA4D3}" destId="{2F9495EE-B173-42E3-9A2E-10D85585F62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E4B4F9F4-D240-4EF9-8A3E-0060574F32FE}">
      <dgm:prSet phldrT="[Texto]" custT="1"/>
      <dgm:spPr/>
      <dgm:t>
        <a:bodyPr/>
        <a:lstStyle/>
        <a:p>
          <a:pPr algn="l"/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Sipan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929002E-3CFB-46F1-9DED-701E6BDDBBE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Reportes por Auspiciador centralizadores (DSYO)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A0D1D621-DA49-4B24-9D22-997E3493B32D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odelos de reporte (repositorio)</a:t>
          </a:r>
        </a:p>
      </dgm:t>
    </dgm:pt>
    <dgm:pt modelId="{E3ECB5E8-A935-4CFC-8698-EA5FF877B4E3}" type="par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AEA91CA-D5DB-4CEF-B363-98AB51DD8415}" type="sib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3918B2B-A56B-49E5-A99E-FB8B8DD6201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zar variables</a:t>
          </a:r>
        </a:p>
      </dgm:t>
    </dgm:pt>
    <dgm:pt modelId="{771A4284-DC55-4997-B76F-6C9FAAC618D2}" type="par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4DCBC2E-A508-4B64-981D-DA191D2B4917}" type="sib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851D966-4FFE-4248-A9C1-6453E25ADC83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UPC Modelos Riesgos</a:t>
          </a:r>
        </a:p>
      </dgm:t>
    </dgm:pt>
    <dgm:pt modelId="{5E16AFD8-F9BA-4FD1-A09E-BF3EB0578E8E}" type="par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299E59F-7CA7-4FC3-AA01-D1FBB0859174}" type="sib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86C129E-19BA-42F5-AD85-4C9625721C2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Presentación o Video</a:t>
          </a:r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C87F9F4-5C07-4BCA-92AB-A2A5B4F9543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ibertec Modelo Riesgos</a:t>
          </a:r>
        </a:p>
      </dgm:t>
    </dgm:pt>
    <dgm:pt modelId="{C90170B8-5182-4F3F-A080-9441DEDFD996}" type="par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EBC2197-080B-4783-816B-CDB3942CA110}" type="sib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E316323-377A-46B8-A4D4-E479C1061327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oporte</a:t>
          </a:r>
        </a:p>
      </dgm:t>
    </dgm:pt>
    <dgm:pt modelId="{5C5C39FD-74EE-486F-890E-28A1DAAF0B24}" type="par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C408D-DF0A-4D67-9B15-5D6A7CD7F7C3}" type="sib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852CB3-B9A0-47C4-B2D3-60883BCA1CA1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Propuesta nueva (que no encuentran)</a:t>
          </a:r>
        </a:p>
      </dgm:t>
    </dgm:pt>
    <dgm:pt modelId="{EDBB7800-6DDB-4558-8FC8-C0BBF127EE1E}" type="par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165C50-7E86-4743-8D75-7CCB095E30B2}" type="sib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60B8BA3-9BEE-40EC-9021-F57BFDFD9DE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Nuevos reportes</a:t>
          </a:r>
        </a:p>
      </dgm:t>
    </dgm:pt>
    <dgm:pt modelId="{9DF11160-0D78-4317-8393-A4EB775A8F07}" type="par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772E835-DAF3-4BE6-BFB5-21B108368A1E}" type="sib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B3F148-D3AB-4DE9-8484-36EFA907849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Encuesta satisfacción</a:t>
          </a:r>
        </a:p>
      </dgm:t>
    </dgm:pt>
    <dgm:pt modelId="{CD72EACC-C299-4AEC-8B2F-673F67F78823}" type="par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8EC97FF-47A0-4996-A0CE-CE0686EDB039}" type="sib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5EC8EC5-E027-4459-81C0-DE7CCE6DEEA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aterial grabado</a:t>
          </a:r>
        </a:p>
      </dgm:t>
    </dgm:pt>
    <dgm:pt modelId="{37BC18F4-84E6-4167-B9D4-7304DBED905A}" type="par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2572AD4-9071-4727-9D55-DFB358A543CC}" type="sib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1144811-3E6A-4B10-9D28-C2C94578B690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sarrollo</a:t>
          </a:r>
        </a:p>
      </dgm:t>
    </dgm:pt>
    <dgm:pt modelId="{167D2452-361D-4D97-84E5-9F38CACAD73B}" type="par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A2F5A53-F115-4B26-96B4-1C6FDDD0F286}" type="sib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C83024F-E411-41CF-A34F-1FB2BF6DFAE8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Boletín y reportes</a:t>
          </a:r>
        </a:p>
      </dgm:t>
    </dgm:pt>
    <dgm:pt modelId="{0025AB7E-6F71-4447-BF43-E8DD33C2E76D}" type="par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60FD9605-9E1F-4EA8-B9D8-9C8F79B263C1}" type="sib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799AD75-C80E-4271-93C2-34DA1D23ED4F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Video comercial y notas </a:t>
          </a:r>
        </a:p>
      </dgm:t>
    </dgm:pt>
    <dgm:pt modelId="{1D2A9084-604E-43CF-A4CF-72DC21EA2934}" type="par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1E0072C-1879-43C0-90AD-12BCFEA3EB33}" type="sib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4A5E8B2-6FE7-4443-B27B-C5216D0E330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3D</a:t>
          </a:r>
        </a:p>
      </dgm:t>
    </dgm:pt>
    <dgm:pt modelId="{D6212ED3-FE7B-42BF-B63D-EF40702AC8A8}" type="par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D427D6D-9E2A-4FE7-85F7-EED83BBF7FC5}" type="sib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94E61-4084-44A1-AABA-9A689F685C6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Nuevos Requerimientos</a:t>
          </a:r>
        </a:p>
      </dgm:t>
    </dgm:pt>
    <dgm:pt modelId="{BD87D6B6-04C8-4739-AD36-76EAB8C1A15E}" type="parTrans" cxnId="{86D38FB3-7DDC-4070-8E9E-C31BEBECB6C8}">
      <dgm:prSet/>
      <dgm:spPr/>
      <dgm:t>
        <a:bodyPr/>
        <a:lstStyle/>
        <a:p>
          <a:endParaRPr lang="es-PE"/>
        </a:p>
      </dgm:t>
    </dgm:pt>
    <dgm:pt modelId="{CC16C7ED-2927-4E54-B009-DCFCA86ABBF0}" type="sibTrans" cxnId="{86D38FB3-7DDC-4070-8E9E-C31BEBECB6C8}">
      <dgm:prSet/>
      <dgm:spPr/>
      <dgm:t>
        <a:bodyPr/>
        <a:lstStyle/>
        <a:p>
          <a:endParaRPr lang="es-PE"/>
        </a:p>
      </dgm:t>
    </dgm:pt>
    <dgm:pt modelId="{4D814DF2-BCE6-42B9-8E30-C90BF63D7291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cen la Base</a:t>
          </a:r>
        </a:p>
      </dgm:t>
    </dgm:pt>
    <dgm:pt modelId="{B0B52E20-56C1-4690-B7DA-AB16DAD0AAF4}" type="parTrans" cxnId="{6BEF8E37-3EF0-4147-A9B8-B653CCDF31A8}">
      <dgm:prSet/>
      <dgm:spPr/>
      <dgm:t>
        <a:bodyPr/>
        <a:lstStyle/>
        <a:p>
          <a:endParaRPr lang="es-PE"/>
        </a:p>
      </dgm:t>
    </dgm:pt>
    <dgm:pt modelId="{78B04E93-BBBC-43A8-A1A7-22DB77DA7688}" type="sibTrans" cxnId="{6BEF8E37-3EF0-4147-A9B8-B653CCDF31A8}">
      <dgm:prSet/>
      <dgm:spPr/>
      <dgm:t>
        <a:bodyPr/>
        <a:lstStyle/>
        <a:p>
          <a:endParaRPr lang="es-PE"/>
        </a:p>
      </dgm:t>
    </dgm:pt>
    <dgm:pt modelId="{4A0744C2-C0D9-423F-A68C-29A17515C566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etodología de recojo de datos en campo</a:t>
          </a:r>
        </a:p>
      </dgm:t>
    </dgm:pt>
    <dgm:pt modelId="{9979E49E-4D85-4291-8CCC-E84E6D906113}" type="parTrans" cxnId="{D19C2740-F297-4D07-8D35-18DE9385BE2F}">
      <dgm:prSet/>
      <dgm:spPr/>
      <dgm:t>
        <a:bodyPr/>
        <a:lstStyle/>
        <a:p>
          <a:endParaRPr lang="es-PE"/>
        </a:p>
      </dgm:t>
    </dgm:pt>
    <dgm:pt modelId="{81392C7C-2EF4-4465-90CB-57675D93DBA0}" type="sibTrans" cxnId="{D19C2740-F297-4D07-8D35-18DE9385BE2F}">
      <dgm:prSet/>
      <dgm:spPr/>
      <dgm:t>
        <a:bodyPr/>
        <a:lstStyle/>
        <a:p>
          <a:endParaRPr lang="es-PE"/>
        </a:p>
      </dgm:t>
    </dgm:pt>
    <dgm:pt modelId="{91582BEC-DE5A-4662-8627-FAC9CA581172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cen los reportes</a:t>
          </a:r>
        </a:p>
      </dgm:t>
    </dgm:pt>
    <dgm:pt modelId="{342E5849-ABA7-49EC-8025-935DA4F75F7A}" type="parTrans" cxnId="{8E49B4B1-FC63-49B8-BAD7-A60077C98AE8}">
      <dgm:prSet/>
      <dgm:spPr/>
      <dgm:t>
        <a:bodyPr/>
        <a:lstStyle/>
        <a:p>
          <a:endParaRPr lang="es-PE"/>
        </a:p>
      </dgm:t>
    </dgm:pt>
    <dgm:pt modelId="{F3E377B6-06D6-4DF9-99E8-B594BBDC001C}" type="sibTrans" cxnId="{8E49B4B1-FC63-49B8-BAD7-A60077C98AE8}">
      <dgm:prSet/>
      <dgm:spPr/>
      <dgm:t>
        <a:bodyPr/>
        <a:lstStyle/>
        <a:p>
          <a:endParaRPr lang="es-PE"/>
        </a:p>
      </dgm:t>
    </dgm:pt>
    <dgm:pt modelId="{EB03EB6B-9574-4EA5-A153-18382C1F2F1E}" type="pres">
      <dgm:prSet presAssocID="{7C456F81-39E8-4A49-BB92-6D9710B9C081}" presName="Name0" presStyleCnt="0">
        <dgm:presLayoutVars>
          <dgm:dir/>
          <dgm:animLvl val="lvl"/>
          <dgm:resizeHandles val="exact"/>
        </dgm:presLayoutVars>
      </dgm:prSet>
      <dgm:spPr/>
    </dgm:pt>
    <dgm:pt modelId="{D3C3096E-56A6-4096-8CE1-7234C99FF698}" type="pres">
      <dgm:prSet presAssocID="{ECF94E61-4084-44A1-AABA-9A689F685C6C}" presName="boxAndChildren" presStyleCnt="0"/>
      <dgm:spPr/>
    </dgm:pt>
    <dgm:pt modelId="{23E25BBB-CAA1-4613-9B0A-8E7313855BC1}" type="pres">
      <dgm:prSet presAssocID="{ECF94E61-4084-44A1-AABA-9A689F685C6C}" presName="parentTextBox" presStyleLbl="node1" presStyleIdx="0" presStyleCnt="5"/>
      <dgm:spPr/>
    </dgm:pt>
    <dgm:pt modelId="{9D4D0629-8307-48D1-983E-19A89023459E}" type="pres">
      <dgm:prSet presAssocID="{ECF94E61-4084-44A1-AABA-9A689F685C6C}" presName="entireBox" presStyleLbl="node1" presStyleIdx="0" presStyleCnt="5"/>
      <dgm:spPr/>
    </dgm:pt>
    <dgm:pt modelId="{0FD9A014-015D-443C-9B54-A3662BF4A3B5}" type="pres">
      <dgm:prSet presAssocID="{ECF94E61-4084-44A1-AABA-9A689F685C6C}" presName="descendantBox" presStyleCnt="0"/>
      <dgm:spPr/>
    </dgm:pt>
    <dgm:pt modelId="{DEBFAFF2-398E-4993-B947-F97E616F6405}" type="pres">
      <dgm:prSet presAssocID="{4D814DF2-BCE6-42B9-8E30-C90BF63D7291}" presName="childTextBox" presStyleLbl="fgAccFollowNode1" presStyleIdx="0" presStyleCnt="15">
        <dgm:presLayoutVars>
          <dgm:bulletEnabled val="1"/>
        </dgm:presLayoutVars>
      </dgm:prSet>
      <dgm:spPr/>
    </dgm:pt>
    <dgm:pt modelId="{635FF771-35C9-4403-A55A-FB31CB316DC3}" type="pres">
      <dgm:prSet presAssocID="{4A0744C2-C0D9-423F-A68C-29A17515C566}" presName="childTextBox" presStyleLbl="fgAccFollowNode1" presStyleIdx="1" presStyleCnt="15">
        <dgm:presLayoutVars>
          <dgm:bulletEnabled val="1"/>
        </dgm:presLayoutVars>
      </dgm:prSet>
      <dgm:spPr/>
    </dgm:pt>
    <dgm:pt modelId="{E20A101E-7118-4273-9932-D019582BC7E5}" type="pres">
      <dgm:prSet presAssocID="{91582BEC-DE5A-4662-8627-FAC9CA581172}" presName="childTextBox" presStyleLbl="fgAccFollowNode1" presStyleIdx="2" presStyleCnt="15">
        <dgm:presLayoutVars>
          <dgm:bulletEnabled val="1"/>
        </dgm:presLayoutVars>
      </dgm:prSet>
      <dgm:spPr/>
    </dgm:pt>
    <dgm:pt modelId="{A356B024-FED8-4F6C-A805-E4746E502B39}" type="pres">
      <dgm:prSet presAssocID="{ECFC408D-DF0A-4D67-9B15-5D6A7CD7F7C3}" presName="sp" presStyleCnt="0"/>
      <dgm:spPr/>
    </dgm:pt>
    <dgm:pt modelId="{E6D9A1BE-4E9C-4AAE-8D50-2B9A3A1DCC7F}" type="pres">
      <dgm:prSet presAssocID="{5E316323-377A-46B8-A4D4-E479C1061327}" presName="arrowAndChildren" presStyleCnt="0"/>
      <dgm:spPr/>
    </dgm:pt>
    <dgm:pt modelId="{5BEA4B0D-108A-402E-9342-32517FE70D18}" type="pres">
      <dgm:prSet presAssocID="{5E316323-377A-46B8-A4D4-E479C1061327}" presName="parentTextArrow" presStyleLbl="node1" presStyleIdx="0" presStyleCnt="5"/>
      <dgm:spPr/>
    </dgm:pt>
    <dgm:pt modelId="{AC2EE8B0-E87E-42A7-A10A-8C5F3FD4783F}" type="pres">
      <dgm:prSet presAssocID="{5E316323-377A-46B8-A4D4-E479C1061327}" presName="arrow" presStyleLbl="node1" presStyleIdx="1" presStyleCnt="5"/>
      <dgm:spPr/>
    </dgm:pt>
    <dgm:pt modelId="{8E35B08F-7893-43A6-ABE4-FC2EB7D14808}" type="pres">
      <dgm:prSet presAssocID="{5E316323-377A-46B8-A4D4-E479C1061327}" presName="descendantArrow" presStyleCnt="0"/>
      <dgm:spPr/>
    </dgm:pt>
    <dgm:pt modelId="{007CFC69-67D0-405F-A6F8-03FBB5EBCBD4}" type="pres">
      <dgm:prSet presAssocID="{360B8BA3-9BEE-40EC-9021-F57BFDFD9DE8}" presName="childTextArrow" presStyleLbl="fgAccFollowNode1" presStyleIdx="3" presStyleCnt="15">
        <dgm:presLayoutVars>
          <dgm:bulletEnabled val="1"/>
        </dgm:presLayoutVars>
      </dgm:prSet>
      <dgm:spPr/>
    </dgm:pt>
    <dgm:pt modelId="{D5A9615E-6D64-42C7-A7F4-7B2D96EEBF35}" type="pres">
      <dgm:prSet presAssocID="{01144811-3E6A-4B10-9D28-C2C94578B690}" presName="childTextArrow" presStyleLbl="fgAccFollowNode1" presStyleIdx="4" presStyleCnt="15">
        <dgm:presLayoutVars>
          <dgm:bulletEnabled val="1"/>
        </dgm:presLayoutVars>
      </dgm:prSet>
      <dgm:spPr/>
    </dgm:pt>
    <dgm:pt modelId="{2CE9A198-0D82-4501-923D-1C7A3202EBC9}" type="pres">
      <dgm:prSet presAssocID="{C4A5E8B2-6FE7-4443-B27B-C5216D0E330C}" presName="childTextArrow" presStyleLbl="fgAccFollowNode1" presStyleIdx="5" presStyleCnt="15">
        <dgm:presLayoutVars>
          <dgm:bulletEnabled val="1"/>
        </dgm:presLayoutVars>
      </dgm:prSet>
      <dgm:spPr/>
    </dgm:pt>
    <dgm:pt modelId="{3B5B80E6-D439-44F0-A337-A96C8DB6A6E1}" type="pres">
      <dgm:prSet presAssocID="{9EBC2197-080B-4783-816B-CDB3942CA110}" presName="sp" presStyleCnt="0"/>
      <dgm:spPr/>
    </dgm:pt>
    <dgm:pt modelId="{3FCA7FD0-DDE1-405C-9141-CFA4BEE19740}" type="pres">
      <dgm:prSet presAssocID="{8C87F9F4-5C07-4BCA-92AB-A2A5B4F95435}" presName="arrowAndChildren" presStyleCnt="0"/>
      <dgm:spPr/>
    </dgm:pt>
    <dgm:pt modelId="{88E62E39-32A8-419B-AE60-E8065A6CD1E2}" type="pres">
      <dgm:prSet presAssocID="{8C87F9F4-5C07-4BCA-92AB-A2A5B4F95435}" presName="parentTextArrow" presStyleLbl="node1" presStyleIdx="1" presStyleCnt="5"/>
      <dgm:spPr/>
    </dgm:pt>
    <dgm:pt modelId="{95AD91AD-CB62-4BD8-94F0-DFCC20ABD171}" type="pres">
      <dgm:prSet presAssocID="{8C87F9F4-5C07-4BCA-92AB-A2A5B4F95435}" presName="arrow" presStyleLbl="node1" presStyleIdx="2" presStyleCnt="5"/>
      <dgm:spPr/>
    </dgm:pt>
    <dgm:pt modelId="{49659649-2EF7-4586-A95B-58970F77117F}" type="pres">
      <dgm:prSet presAssocID="{8C87F9F4-5C07-4BCA-92AB-A2A5B4F95435}" presName="descendantArrow" presStyleCnt="0"/>
      <dgm:spPr/>
    </dgm:pt>
    <dgm:pt modelId="{9D8D2D06-5FB4-42DA-988C-D4400F8A15D7}" type="pres">
      <dgm:prSet presAssocID="{3E852CB3-B9A0-47C4-B2D3-60883BCA1CA1}" presName="childTextArrow" presStyleLbl="fgAccFollowNode1" presStyleIdx="6" presStyleCnt="15">
        <dgm:presLayoutVars>
          <dgm:bulletEnabled val="1"/>
        </dgm:presLayoutVars>
      </dgm:prSet>
      <dgm:spPr/>
    </dgm:pt>
    <dgm:pt modelId="{757C85E8-B454-49CD-8F22-D3E9EB042994}" type="pres">
      <dgm:prSet presAssocID="{1C83024F-E411-41CF-A34F-1FB2BF6DFAE8}" presName="childTextArrow" presStyleLbl="fgAccFollowNode1" presStyleIdx="7" presStyleCnt="15">
        <dgm:presLayoutVars>
          <dgm:bulletEnabled val="1"/>
        </dgm:presLayoutVars>
      </dgm:prSet>
      <dgm:spPr/>
    </dgm:pt>
    <dgm:pt modelId="{49A26938-D933-49A6-8EA8-CC39758147BA}" type="pres">
      <dgm:prSet presAssocID="{8799AD75-C80E-4271-93C2-34DA1D23ED4F}" presName="childTextArrow" presStyleLbl="fgAccFollowNode1" presStyleIdx="8" presStyleCnt="15">
        <dgm:presLayoutVars>
          <dgm:bulletEnabled val="1"/>
        </dgm:presLayoutVars>
      </dgm:prSet>
      <dgm:spPr/>
    </dgm:pt>
    <dgm:pt modelId="{5C7A3FD8-99A0-40CE-B189-AE89EE7F92DA}" type="pres">
      <dgm:prSet presAssocID="{F299E59F-7CA7-4FC3-AA01-D1FBB0859174}" presName="sp" presStyleCnt="0"/>
      <dgm:spPr/>
    </dgm:pt>
    <dgm:pt modelId="{9105E249-8148-470D-9574-1C494EBCD5E3}" type="pres">
      <dgm:prSet presAssocID="{D851D966-4FFE-4248-A9C1-6453E25ADC83}" presName="arrowAndChildren" presStyleCnt="0"/>
      <dgm:spPr/>
    </dgm:pt>
    <dgm:pt modelId="{354D8C0C-0917-4BA0-8481-476F3B64DDF6}" type="pres">
      <dgm:prSet presAssocID="{D851D966-4FFE-4248-A9C1-6453E25ADC83}" presName="parentTextArrow" presStyleLbl="node1" presStyleIdx="2" presStyleCnt="5"/>
      <dgm:spPr/>
    </dgm:pt>
    <dgm:pt modelId="{DE4459A0-95C5-4725-9F03-9A0AD2F9926A}" type="pres">
      <dgm:prSet presAssocID="{D851D966-4FFE-4248-A9C1-6453E25ADC83}" presName="arrow" presStyleLbl="node1" presStyleIdx="3" presStyleCnt="5"/>
      <dgm:spPr/>
    </dgm:pt>
    <dgm:pt modelId="{A5543260-F659-408F-9B54-DC9A6C06DF1F}" type="pres">
      <dgm:prSet presAssocID="{D851D966-4FFE-4248-A9C1-6453E25ADC83}" presName="descendantArrow" presStyleCnt="0"/>
      <dgm:spPr/>
    </dgm:pt>
    <dgm:pt modelId="{B6AD687A-D1FE-4304-8D99-21A7AA53D287}" type="pres">
      <dgm:prSet presAssocID="{0929002E-3CFB-46F1-9DED-701E6BDDBBE5}" presName="childTextArrow" presStyleLbl="fgAccFollowNode1" presStyleIdx="9" presStyleCnt="15">
        <dgm:presLayoutVars>
          <dgm:bulletEnabled val="1"/>
        </dgm:presLayoutVars>
      </dgm:prSet>
      <dgm:spPr/>
    </dgm:pt>
    <dgm:pt modelId="{62EB7941-A74D-4F18-8DE5-485D8A2C4F3A}" type="pres">
      <dgm:prSet presAssocID="{A0D1D621-DA49-4B24-9D22-997E3493B32D}" presName="childTextArrow" presStyleLbl="fgAccFollowNode1" presStyleIdx="10" presStyleCnt="15">
        <dgm:presLayoutVars>
          <dgm:bulletEnabled val="1"/>
        </dgm:presLayoutVars>
      </dgm:prSet>
      <dgm:spPr/>
    </dgm:pt>
    <dgm:pt modelId="{CEB0F7B0-2A19-4F09-BDC3-8C3B0ACA1B28}" type="pres">
      <dgm:prSet presAssocID="{33918B2B-A56B-49E5-A99E-FB8B8DD62018}" presName="childTextArrow" presStyleLbl="fgAccFollowNode1" presStyleIdx="11" presStyleCnt="15">
        <dgm:presLayoutVars>
          <dgm:bulletEnabled val="1"/>
        </dgm:presLayoutVars>
      </dgm:prSet>
      <dgm:spPr/>
    </dgm:pt>
    <dgm:pt modelId="{1713176F-A260-4F41-BE91-6CED18B891A8}" type="pres">
      <dgm:prSet presAssocID="{EC5EB5C7-F1A2-4FE5-A33B-B7B5FE53412C}" presName="sp" presStyleCnt="0"/>
      <dgm:spPr/>
    </dgm:pt>
    <dgm:pt modelId="{4B80C2B2-1C45-4E43-B99D-7E755D5F1010}" type="pres">
      <dgm:prSet presAssocID="{E4B4F9F4-D240-4EF9-8A3E-0060574F32FE}" presName="arrowAndChildren" presStyleCnt="0"/>
      <dgm:spPr/>
    </dgm:pt>
    <dgm:pt modelId="{7187319B-27A8-4119-9C65-A9B885720148}" type="pres">
      <dgm:prSet presAssocID="{E4B4F9F4-D240-4EF9-8A3E-0060574F32FE}" presName="parentTextArrow" presStyleLbl="node1" presStyleIdx="3" presStyleCnt="5"/>
      <dgm:spPr/>
    </dgm:pt>
    <dgm:pt modelId="{F88137AA-2751-494D-A2CA-74235065E832}" type="pres">
      <dgm:prSet presAssocID="{E4B4F9F4-D240-4EF9-8A3E-0060574F32FE}" presName="arrow" presStyleLbl="node1" presStyleIdx="4" presStyleCnt="5"/>
      <dgm:spPr/>
    </dgm:pt>
    <dgm:pt modelId="{17FADE8B-944B-4353-9345-07596CE7FC8F}" type="pres">
      <dgm:prSet presAssocID="{E4B4F9F4-D240-4EF9-8A3E-0060574F32FE}" presName="descendantArrow" presStyleCnt="0"/>
      <dgm:spPr/>
    </dgm:pt>
    <dgm:pt modelId="{0EDD97D6-9FCF-4BD4-9B78-0101DA09CB2A}" type="pres">
      <dgm:prSet presAssocID="{486C129E-19BA-42F5-AD85-4C9625721C2E}" presName="childTextArrow" presStyleLbl="fgAccFollowNode1" presStyleIdx="12" presStyleCnt="15">
        <dgm:presLayoutVars>
          <dgm:bulletEnabled val="1"/>
        </dgm:presLayoutVars>
      </dgm:prSet>
      <dgm:spPr/>
    </dgm:pt>
    <dgm:pt modelId="{5B48657E-BE30-4828-B247-6BF8C67A5417}" type="pres">
      <dgm:prSet presAssocID="{C0B3F148-D3AB-4DE9-8484-36EFA907849C}" presName="childTextArrow" presStyleLbl="fgAccFollowNode1" presStyleIdx="13" presStyleCnt="15">
        <dgm:presLayoutVars>
          <dgm:bulletEnabled val="1"/>
        </dgm:presLayoutVars>
      </dgm:prSet>
      <dgm:spPr/>
    </dgm:pt>
    <dgm:pt modelId="{775BC43A-FF86-4AE6-A97D-A464BAB13759}" type="pres">
      <dgm:prSet presAssocID="{F5EC8EC5-E027-4459-81C0-DE7CCE6DEEA5}" presName="childTextArrow" presStyleLbl="fgAccFollowNode1" presStyleIdx="14" presStyleCnt="15">
        <dgm:presLayoutVars>
          <dgm:bulletEnabled val="1"/>
        </dgm:presLayoutVars>
      </dgm:prSet>
      <dgm:spPr/>
    </dgm:pt>
  </dgm:ptLst>
  <dgm:cxnLst>
    <dgm:cxn modelId="{FC2A9C01-34C1-4FF4-AE6A-7A519836BAF6}" type="presOf" srcId="{A0D1D621-DA49-4B24-9D22-997E3493B32D}" destId="{62EB7941-A74D-4F18-8DE5-485D8A2C4F3A}" srcOrd="0" destOrd="0" presId="urn:microsoft.com/office/officeart/2005/8/layout/process4"/>
    <dgm:cxn modelId="{7E4CBA0E-DB61-48A6-906D-7BC1BB344639}" type="presOf" srcId="{E4B4F9F4-D240-4EF9-8A3E-0060574F32FE}" destId="{7187319B-27A8-4119-9C65-A9B885720148}" srcOrd="0" destOrd="0" presId="urn:microsoft.com/office/officeart/2005/8/layout/process4"/>
    <dgm:cxn modelId="{E9B8BA10-FC82-4C8E-8BE9-C2E69019A018}" srcId="{8C87F9F4-5C07-4BCA-92AB-A2A5B4F95435}" destId="{8799AD75-C80E-4271-93C2-34DA1D23ED4F}" srcOrd="2" destOrd="0" parTransId="{1D2A9084-604E-43CF-A4CF-72DC21EA2934}" sibTransId="{71E0072C-1879-43C0-90AD-12BCFEA3EB33}"/>
    <dgm:cxn modelId="{4E220113-5239-4BED-A92B-48EDBE16FA47}" type="presOf" srcId="{0929002E-3CFB-46F1-9DED-701E6BDDBBE5}" destId="{B6AD687A-D1FE-4304-8D99-21A7AA53D287}" srcOrd="0" destOrd="0" presId="urn:microsoft.com/office/officeart/2005/8/layout/process4"/>
    <dgm:cxn modelId="{BDBF4014-9DB3-4E4E-B72A-454B7E2B3097}" srcId="{7C456F81-39E8-4A49-BB92-6D9710B9C081}" destId="{D851D966-4FFE-4248-A9C1-6453E25ADC83}" srcOrd="1" destOrd="0" parTransId="{5E16AFD8-F9BA-4FD1-A09E-BF3EB0578E8E}" sibTransId="{F299E59F-7CA7-4FC3-AA01-D1FBB0859174}"/>
    <dgm:cxn modelId="{C5946918-E62E-4BD7-9743-80867A6A281E}" srcId="{7C456F81-39E8-4A49-BB92-6D9710B9C081}" destId="{8C87F9F4-5C07-4BCA-92AB-A2A5B4F95435}" srcOrd="2" destOrd="0" parTransId="{C90170B8-5182-4F3F-A080-9441DEDFD996}" sibTransId="{9EBC2197-080B-4783-816B-CDB3942CA110}"/>
    <dgm:cxn modelId="{1097FE20-EBA6-42F7-8CAD-E6201E37F456}" type="presOf" srcId="{360B8BA3-9BEE-40EC-9021-F57BFDFD9DE8}" destId="{007CFC69-67D0-405F-A6F8-03FBB5EBCBD4}" srcOrd="0" destOrd="0" presId="urn:microsoft.com/office/officeart/2005/8/layout/process4"/>
    <dgm:cxn modelId="{212D2521-FA9B-4E5B-B7C1-3B6A831A5B9F}" type="presOf" srcId="{8799AD75-C80E-4271-93C2-34DA1D23ED4F}" destId="{49A26938-D933-49A6-8EA8-CC39758147BA}" srcOrd="0" destOrd="0" presId="urn:microsoft.com/office/officeart/2005/8/layout/process4"/>
    <dgm:cxn modelId="{DFDECE35-D23E-4022-94E6-4E074FD1D7A6}" type="presOf" srcId="{E4B4F9F4-D240-4EF9-8A3E-0060574F32FE}" destId="{F88137AA-2751-494D-A2CA-74235065E832}" srcOrd="1" destOrd="0" presId="urn:microsoft.com/office/officeart/2005/8/layout/process4"/>
    <dgm:cxn modelId="{6BEF8E37-3EF0-4147-A9B8-B653CCDF31A8}" srcId="{ECF94E61-4084-44A1-AABA-9A689F685C6C}" destId="{4D814DF2-BCE6-42B9-8E30-C90BF63D7291}" srcOrd="0" destOrd="0" parTransId="{B0B52E20-56C1-4690-B7DA-AB16DAD0AAF4}" sibTransId="{78B04E93-BBBC-43A8-A1A7-22DB77DA7688}"/>
    <dgm:cxn modelId="{1516893E-4C1A-4671-9A6B-E0A43CF2FFB3}" type="presOf" srcId="{C0B3F148-D3AB-4DE9-8484-36EFA907849C}" destId="{5B48657E-BE30-4828-B247-6BF8C67A5417}" srcOrd="0" destOrd="0" presId="urn:microsoft.com/office/officeart/2005/8/layout/process4"/>
    <dgm:cxn modelId="{D19C2740-F297-4D07-8D35-18DE9385BE2F}" srcId="{ECF94E61-4084-44A1-AABA-9A689F685C6C}" destId="{4A0744C2-C0D9-423F-A68C-29A17515C566}" srcOrd="1" destOrd="0" parTransId="{9979E49E-4D85-4291-8CCC-E84E6D906113}" sibTransId="{81392C7C-2EF4-4465-90CB-57675D93DBA0}"/>
    <dgm:cxn modelId="{E586525D-DE5C-47F7-8AA3-BD50CF247832}" type="presOf" srcId="{D851D966-4FFE-4248-A9C1-6453E25ADC83}" destId="{DE4459A0-95C5-4725-9F03-9A0AD2F9926A}" srcOrd="1" destOrd="0" presId="urn:microsoft.com/office/officeart/2005/8/layout/process4"/>
    <dgm:cxn modelId="{9E9AA05F-1AE7-427C-9081-FB058A3450EF}" srcId="{D851D966-4FFE-4248-A9C1-6453E25ADC83}" destId="{0929002E-3CFB-46F1-9DED-701E6BDDBBE5}" srcOrd="0" destOrd="0" parTransId="{AD8E2242-6023-4FA1-A34B-BE65322F502E}" sibTransId="{0D4F85F6-A19F-4209-A6A7-43F65AB97D31}"/>
    <dgm:cxn modelId="{DEDDF041-E200-4C34-833F-58439D2B837F}" srcId="{E4B4F9F4-D240-4EF9-8A3E-0060574F32FE}" destId="{C0B3F148-D3AB-4DE9-8484-36EFA907849C}" srcOrd="1" destOrd="0" parTransId="{CD72EACC-C299-4AEC-8B2F-673F67F78823}" sibTransId="{98EC97FF-47A0-4996-A0CE-CE0686EDB039}"/>
    <dgm:cxn modelId="{FCAB3B63-22BF-45CB-B62D-8A3B39670C16}" type="presOf" srcId="{F5EC8EC5-E027-4459-81C0-DE7CCE6DEEA5}" destId="{775BC43A-FF86-4AE6-A97D-A464BAB13759}" srcOrd="0" destOrd="0" presId="urn:microsoft.com/office/officeart/2005/8/layout/process4"/>
    <dgm:cxn modelId="{0546C747-6BC3-40AF-B2A3-D7C83A0FBE80}" srcId="{D851D966-4FFE-4248-A9C1-6453E25ADC83}" destId="{33918B2B-A56B-49E5-A99E-FB8B8DD62018}" srcOrd="2" destOrd="0" parTransId="{771A4284-DC55-4997-B76F-6C9FAAC618D2}" sibTransId="{14DCBC2E-A508-4B64-981D-DA191D2B4917}"/>
    <dgm:cxn modelId="{78FC3068-D7B3-4DF8-91A7-F6C25B061CD9}" type="presOf" srcId="{4D814DF2-BCE6-42B9-8E30-C90BF63D7291}" destId="{DEBFAFF2-398E-4993-B947-F97E616F6405}" srcOrd="0" destOrd="0" presId="urn:microsoft.com/office/officeart/2005/8/layout/process4"/>
    <dgm:cxn modelId="{A1842479-5E5E-4FEC-9CE8-45D902445E7B}" type="presOf" srcId="{ECF94E61-4084-44A1-AABA-9A689F685C6C}" destId="{23E25BBB-CAA1-4613-9B0A-8E7313855BC1}" srcOrd="0" destOrd="0" presId="urn:microsoft.com/office/officeart/2005/8/layout/process4"/>
    <dgm:cxn modelId="{29705159-E322-4084-B2CE-64B35F5EFA1B}" type="presOf" srcId="{33918B2B-A56B-49E5-A99E-FB8B8DD62018}" destId="{CEB0F7B0-2A19-4F09-BDC3-8C3B0ACA1B28}" srcOrd="0" destOrd="0" presId="urn:microsoft.com/office/officeart/2005/8/layout/process4"/>
    <dgm:cxn modelId="{24AAB383-71A1-453A-B304-4CDC76916177}" type="presOf" srcId="{C4A5E8B2-6FE7-4443-B27B-C5216D0E330C}" destId="{2CE9A198-0D82-4501-923D-1C7A3202EBC9}" srcOrd="0" destOrd="0" presId="urn:microsoft.com/office/officeart/2005/8/layout/process4"/>
    <dgm:cxn modelId="{28AE7A87-3A68-4006-9467-1365C0060C13}" type="presOf" srcId="{7C456F81-39E8-4A49-BB92-6D9710B9C081}" destId="{EB03EB6B-9574-4EA5-A153-18382C1F2F1E}" srcOrd="0" destOrd="0" presId="urn:microsoft.com/office/officeart/2005/8/layout/process4"/>
    <dgm:cxn modelId="{72B5BD94-EFB1-4D31-89FD-3BF9531C23C0}" type="presOf" srcId="{ECF94E61-4084-44A1-AABA-9A689F685C6C}" destId="{9D4D0629-8307-48D1-983E-19A89023459E}" srcOrd="1" destOrd="0" presId="urn:microsoft.com/office/officeart/2005/8/layout/process4"/>
    <dgm:cxn modelId="{E0A86395-4C33-4F42-943C-52804CBA0CF6}" srcId="{8C87F9F4-5C07-4BCA-92AB-A2A5B4F95435}" destId="{1C83024F-E411-41CF-A34F-1FB2BF6DFAE8}" srcOrd="1" destOrd="0" parTransId="{0025AB7E-6F71-4447-BF43-E8DD33C2E76D}" sibTransId="{60FD9605-9E1F-4EA8-B9D8-9C8F79B263C1}"/>
    <dgm:cxn modelId="{E31B029B-72C3-4515-9800-7E4538032B54}" type="presOf" srcId="{91582BEC-DE5A-4662-8627-FAC9CA581172}" destId="{E20A101E-7118-4273-9932-D019582BC7E5}" srcOrd="0" destOrd="0" presId="urn:microsoft.com/office/officeart/2005/8/layout/process4"/>
    <dgm:cxn modelId="{1FFE229D-DDC7-4828-9C7A-BB0DDC279C76}" type="presOf" srcId="{4A0744C2-C0D9-423F-A68C-29A17515C566}" destId="{635FF771-35C9-4403-A55A-FB31CB316DC3}" srcOrd="0" destOrd="0" presId="urn:microsoft.com/office/officeart/2005/8/layout/process4"/>
    <dgm:cxn modelId="{199137A4-C638-42F4-8610-6B55209B4A2E}" type="presOf" srcId="{486C129E-19BA-42F5-AD85-4C9625721C2E}" destId="{0EDD97D6-9FCF-4BD4-9B78-0101DA09CB2A}" srcOrd="0" destOrd="0" presId="urn:microsoft.com/office/officeart/2005/8/layout/process4"/>
    <dgm:cxn modelId="{BF6CEEA7-B79C-49B6-BBCB-C2F35D55C285}" srcId="{8C87F9F4-5C07-4BCA-92AB-A2A5B4F95435}" destId="{3E852CB3-B9A0-47C4-B2D3-60883BCA1CA1}" srcOrd="0" destOrd="0" parTransId="{EDBB7800-6DDB-4558-8FC8-C0BBF127EE1E}" sibTransId="{3E165C50-7E86-4743-8D75-7CCB095E30B2}"/>
    <dgm:cxn modelId="{02553EAA-3EAA-4D05-86DE-21CD4335B209}" type="presOf" srcId="{5E316323-377A-46B8-A4D4-E479C1061327}" destId="{AC2EE8B0-E87E-42A7-A10A-8C5F3FD4783F}" srcOrd="1" destOrd="0" presId="urn:microsoft.com/office/officeart/2005/8/layout/process4"/>
    <dgm:cxn modelId="{AB049FAC-75AE-448B-8CF3-A0CA18C8F25D}" type="presOf" srcId="{D851D966-4FFE-4248-A9C1-6453E25ADC83}" destId="{354D8C0C-0917-4BA0-8481-476F3B64DDF6}" srcOrd="0" destOrd="0" presId="urn:microsoft.com/office/officeart/2005/8/layout/process4"/>
    <dgm:cxn modelId="{60B3C5AF-2852-4A52-B4FB-8A34543BEDDC}" type="presOf" srcId="{5E316323-377A-46B8-A4D4-E479C1061327}" destId="{5BEA4B0D-108A-402E-9342-32517FE70D18}" srcOrd="0" destOrd="0" presId="urn:microsoft.com/office/officeart/2005/8/layout/process4"/>
    <dgm:cxn modelId="{EF1894B1-786B-4C9F-8FA3-0BA98A71499E}" type="presOf" srcId="{01144811-3E6A-4B10-9D28-C2C94578B690}" destId="{D5A9615E-6D64-42C7-A7F4-7B2D96EEBF35}" srcOrd="0" destOrd="0" presId="urn:microsoft.com/office/officeart/2005/8/layout/process4"/>
    <dgm:cxn modelId="{8E49B4B1-FC63-49B8-BAD7-A60077C98AE8}" srcId="{ECF94E61-4084-44A1-AABA-9A689F685C6C}" destId="{91582BEC-DE5A-4662-8627-FAC9CA581172}" srcOrd="2" destOrd="0" parTransId="{342E5849-ABA7-49EC-8025-935DA4F75F7A}" sibTransId="{F3E377B6-06D6-4DF9-99E8-B594BBDC001C}"/>
    <dgm:cxn modelId="{86D38FB3-7DDC-4070-8E9E-C31BEBECB6C8}" srcId="{7C456F81-39E8-4A49-BB92-6D9710B9C081}" destId="{ECF94E61-4084-44A1-AABA-9A689F685C6C}" srcOrd="4" destOrd="0" parTransId="{BD87D6B6-04C8-4739-AD36-76EAB8C1A15E}" sibTransId="{CC16C7ED-2927-4E54-B009-DCFCA86ABBF0}"/>
    <dgm:cxn modelId="{BADC30B5-6E31-4F3A-AC0D-69D148CCD2ED}" srcId="{E4B4F9F4-D240-4EF9-8A3E-0060574F32FE}" destId="{F5EC8EC5-E027-4459-81C0-DE7CCE6DEEA5}" srcOrd="2" destOrd="0" parTransId="{37BC18F4-84E6-4167-B9D4-7304DBED905A}" sibTransId="{72572AD4-9071-4727-9D55-DFB358A543CC}"/>
    <dgm:cxn modelId="{F659BFB7-D9D5-4C7B-8DD5-EB42490C1C74}" srcId="{5E316323-377A-46B8-A4D4-E479C1061327}" destId="{360B8BA3-9BEE-40EC-9021-F57BFDFD9DE8}" srcOrd="0" destOrd="0" parTransId="{9DF11160-0D78-4317-8393-A4EB775A8F07}" sibTransId="{9772E835-DAF3-4BE6-BFB5-21B108368A1E}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18EB9DBE-20E5-486B-A18F-F91E0E8A8A40}" type="presOf" srcId="{1C83024F-E411-41CF-A34F-1FB2BF6DFAE8}" destId="{757C85E8-B454-49CD-8F22-D3E9EB042994}" srcOrd="0" destOrd="0" presId="urn:microsoft.com/office/officeart/2005/8/layout/process4"/>
    <dgm:cxn modelId="{EA01F1BE-F7A3-412C-9F55-B39BC855A8B3}" srcId="{7C456F81-39E8-4A49-BB92-6D9710B9C081}" destId="{E4B4F9F4-D240-4EF9-8A3E-0060574F32FE}" srcOrd="0" destOrd="0" parTransId="{686EE54E-2CC1-4ABF-B221-047AC1ECAA71}" sibTransId="{EC5EB5C7-F1A2-4FE5-A33B-B7B5FE53412C}"/>
    <dgm:cxn modelId="{ABA46FC7-1D6F-48CE-A4D1-E536C9AE4690}" srcId="{5E316323-377A-46B8-A4D4-E479C1061327}" destId="{C4A5E8B2-6FE7-4443-B27B-C5216D0E330C}" srcOrd="2" destOrd="0" parTransId="{D6212ED3-FE7B-42BF-B63D-EF40702AC8A8}" sibTransId="{DD427D6D-9E2A-4FE7-85F7-EED83BBF7FC5}"/>
    <dgm:cxn modelId="{592387CB-F863-4082-AC3B-5CE459961FC7}" srcId="{5E316323-377A-46B8-A4D4-E479C1061327}" destId="{01144811-3E6A-4B10-9D28-C2C94578B690}" srcOrd="1" destOrd="0" parTransId="{167D2452-361D-4D97-84E5-9F38CACAD73B}" sibTransId="{4A2F5A53-F115-4B26-96B4-1C6FDDD0F286}"/>
    <dgm:cxn modelId="{9DDC52D3-9ACB-4F74-A722-C7F34EA681A0}" type="presOf" srcId="{3E852CB3-B9A0-47C4-B2D3-60883BCA1CA1}" destId="{9D8D2D06-5FB4-42DA-988C-D4400F8A15D7}" srcOrd="0" destOrd="0" presId="urn:microsoft.com/office/officeart/2005/8/layout/process4"/>
    <dgm:cxn modelId="{0E4F96DE-D09C-4EC4-8B90-C4C5FAC82807}" srcId="{D851D966-4FFE-4248-A9C1-6453E25ADC83}" destId="{A0D1D621-DA49-4B24-9D22-997E3493B32D}" srcOrd="1" destOrd="0" parTransId="{E3ECB5E8-A935-4CFC-8698-EA5FF877B4E3}" sibTransId="{EAEA91CA-D5DB-4CEF-B363-98AB51DD8415}"/>
    <dgm:cxn modelId="{6D7E6CE3-76F7-4624-BC25-4A8AF12EFE03}" type="presOf" srcId="{8C87F9F4-5C07-4BCA-92AB-A2A5B4F95435}" destId="{88E62E39-32A8-419B-AE60-E8065A6CD1E2}" srcOrd="0" destOrd="0" presId="urn:microsoft.com/office/officeart/2005/8/layout/process4"/>
    <dgm:cxn modelId="{857FC2E7-6FBE-48E8-9032-BA22D22B616C}" type="presOf" srcId="{8C87F9F4-5C07-4BCA-92AB-A2A5B4F95435}" destId="{95AD91AD-CB62-4BD8-94F0-DFCC20ABD171}" srcOrd="1" destOrd="0" presId="urn:microsoft.com/office/officeart/2005/8/layout/process4"/>
    <dgm:cxn modelId="{E5B183FA-F359-4FF2-B8BF-35CAE6F71480}" srcId="{7C456F81-39E8-4A49-BB92-6D9710B9C081}" destId="{5E316323-377A-46B8-A4D4-E479C1061327}" srcOrd="3" destOrd="0" parTransId="{5C5C39FD-74EE-486F-890E-28A1DAAF0B24}" sibTransId="{ECFC408D-DF0A-4D67-9B15-5D6A7CD7F7C3}"/>
    <dgm:cxn modelId="{1426243D-5367-49B5-86BF-CBA8853BEFED}" type="presParOf" srcId="{EB03EB6B-9574-4EA5-A153-18382C1F2F1E}" destId="{D3C3096E-56A6-4096-8CE1-7234C99FF698}" srcOrd="0" destOrd="0" presId="urn:microsoft.com/office/officeart/2005/8/layout/process4"/>
    <dgm:cxn modelId="{61A0AC50-CB54-4612-93B8-010957206BF6}" type="presParOf" srcId="{D3C3096E-56A6-4096-8CE1-7234C99FF698}" destId="{23E25BBB-CAA1-4613-9B0A-8E7313855BC1}" srcOrd="0" destOrd="0" presId="urn:microsoft.com/office/officeart/2005/8/layout/process4"/>
    <dgm:cxn modelId="{F2DB6199-EEE5-4A67-A214-7FCB762C675A}" type="presParOf" srcId="{D3C3096E-56A6-4096-8CE1-7234C99FF698}" destId="{9D4D0629-8307-48D1-983E-19A89023459E}" srcOrd="1" destOrd="0" presId="urn:microsoft.com/office/officeart/2005/8/layout/process4"/>
    <dgm:cxn modelId="{18311A6E-A855-4364-97E1-5B6BEDBADB8D}" type="presParOf" srcId="{D3C3096E-56A6-4096-8CE1-7234C99FF698}" destId="{0FD9A014-015D-443C-9B54-A3662BF4A3B5}" srcOrd="2" destOrd="0" presId="urn:microsoft.com/office/officeart/2005/8/layout/process4"/>
    <dgm:cxn modelId="{B8B568A4-D73A-435B-A160-76BAEFC98167}" type="presParOf" srcId="{0FD9A014-015D-443C-9B54-A3662BF4A3B5}" destId="{DEBFAFF2-398E-4993-B947-F97E616F6405}" srcOrd="0" destOrd="0" presId="urn:microsoft.com/office/officeart/2005/8/layout/process4"/>
    <dgm:cxn modelId="{D605EF61-3E57-4FBC-85A4-3F6255330440}" type="presParOf" srcId="{0FD9A014-015D-443C-9B54-A3662BF4A3B5}" destId="{635FF771-35C9-4403-A55A-FB31CB316DC3}" srcOrd="1" destOrd="0" presId="urn:microsoft.com/office/officeart/2005/8/layout/process4"/>
    <dgm:cxn modelId="{84C9D22A-20B7-453D-9825-482E9704757F}" type="presParOf" srcId="{0FD9A014-015D-443C-9B54-A3662BF4A3B5}" destId="{E20A101E-7118-4273-9932-D019582BC7E5}" srcOrd="2" destOrd="0" presId="urn:microsoft.com/office/officeart/2005/8/layout/process4"/>
    <dgm:cxn modelId="{84F965F3-4D19-49DD-9D1A-072A49592275}" type="presParOf" srcId="{EB03EB6B-9574-4EA5-A153-18382C1F2F1E}" destId="{A356B024-FED8-4F6C-A805-E4746E502B39}" srcOrd="1" destOrd="0" presId="urn:microsoft.com/office/officeart/2005/8/layout/process4"/>
    <dgm:cxn modelId="{C407BA8A-B8F9-4DBC-AB51-B769A0215587}" type="presParOf" srcId="{EB03EB6B-9574-4EA5-A153-18382C1F2F1E}" destId="{E6D9A1BE-4E9C-4AAE-8D50-2B9A3A1DCC7F}" srcOrd="2" destOrd="0" presId="urn:microsoft.com/office/officeart/2005/8/layout/process4"/>
    <dgm:cxn modelId="{6B1F632F-B8BB-43D8-A206-0FD3E73BFAF5}" type="presParOf" srcId="{E6D9A1BE-4E9C-4AAE-8D50-2B9A3A1DCC7F}" destId="{5BEA4B0D-108A-402E-9342-32517FE70D18}" srcOrd="0" destOrd="0" presId="urn:microsoft.com/office/officeart/2005/8/layout/process4"/>
    <dgm:cxn modelId="{BD723F0B-FFE8-497E-85CF-6A18DE025BEB}" type="presParOf" srcId="{E6D9A1BE-4E9C-4AAE-8D50-2B9A3A1DCC7F}" destId="{AC2EE8B0-E87E-42A7-A10A-8C5F3FD4783F}" srcOrd="1" destOrd="0" presId="urn:microsoft.com/office/officeart/2005/8/layout/process4"/>
    <dgm:cxn modelId="{86C094D5-D4E5-44A9-A953-D1F801E988B6}" type="presParOf" srcId="{E6D9A1BE-4E9C-4AAE-8D50-2B9A3A1DCC7F}" destId="{8E35B08F-7893-43A6-ABE4-FC2EB7D14808}" srcOrd="2" destOrd="0" presId="urn:microsoft.com/office/officeart/2005/8/layout/process4"/>
    <dgm:cxn modelId="{51488247-1426-471B-93CC-1B15D2E6593F}" type="presParOf" srcId="{8E35B08F-7893-43A6-ABE4-FC2EB7D14808}" destId="{007CFC69-67D0-405F-A6F8-03FBB5EBCBD4}" srcOrd="0" destOrd="0" presId="urn:microsoft.com/office/officeart/2005/8/layout/process4"/>
    <dgm:cxn modelId="{7AE188C3-0D86-4F47-8956-72BAA66EFACC}" type="presParOf" srcId="{8E35B08F-7893-43A6-ABE4-FC2EB7D14808}" destId="{D5A9615E-6D64-42C7-A7F4-7B2D96EEBF35}" srcOrd="1" destOrd="0" presId="urn:microsoft.com/office/officeart/2005/8/layout/process4"/>
    <dgm:cxn modelId="{682217E3-81B5-4741-9888-36E74260EC48}" type="presParOf" srcId="{8E35B08F-7893-43A6-ABE4-FC2EB7D14808}" destId="{2CE9A198-0D82-4501-923D-1C7A3202EBC9}" srcOrd="2" destOrd="0" presId="urn:microsoft.com/office/officeart/2005/8/layout/process4"/>
    <dgm:cxn modelId="{5E81BB18-A888-43CC-89BA-63D55BCF30BF}" type="presParOf" srcId="{EB03EB6B-9574-4EA5-A153-18382C1F2F1E}" destId="{3B5B80E6-D439-44F0-A337-A96C8DB6A6E1}" srcOrd="3" destOrd="0" presId="urn:microsoft.com/office/officeart/2005/8/layout/process4"/>
    <dgm:cxn modelId="{5A19BBD2-DA14-44B0-93A8-3D28A1B1FD0C}" type="presParOf" srcId="{EB03EB6B-9574-4EA5-A153-18382C1F2F1E}" destId="{3FCA7FD0-DDE1-405C-9141-CFA4BEE19740}" srcOrd="4" destOrd="0" presId="urn:microsoft.com/office/officeart/2005/8/layout/process4"/>
    <dgm:cxn modelId="{C8E3D2F1-4616-4AAD-911C-76700EF3330B}" type="presParOf" srcId="{3FCA7FD0-DDE1-405C-9141-CFA4BEE19740}" destId="{88E62E39-32A8-419B-AE60-E8065A6CD1E2}" srcOrd="0" destOrd="0" presId="urn:microsoft.com/office/officeart/2005/8/layout/process4"/>
    <dgm:cxn modelId="{CEA21E01-227E-4679-84CF-4EF54B276DB6}" type="presParOf" srcId="{3FCA7FD0-DDE1-405C-9141-CFA4BEE19740}" destId="{95AD91AD-CB62-4BD8-94F0-DFCC20ABD171}" srcOrd="1" destOrd="0" presId="urn:microsoft.com/office/officeart/2005/8/layout/process4"/>
    <dgm:cxn modelId="{3869FD21-98F3-4DC0-B341-EC7D8E50B289}" type="presParOf" srcId="{3FCA7FD0-DDE1-405C-9141-CFA4BEE19740}" destId="{49659649-2EF7-4586-A95B-58970F77117F}" srcOrd="2" destOrd="0" presId="urn:microsoft.com/office/officeart/2005/8/layout/process4"/>
    <dgm:cxn modelId="{8B80D072-467C-43A5-B396-DB2A8C614AA4}" type="presParOf" srcId="{49659649-2EF7-4586-A95B-58970F77117F}" destId="{9D8D2D06-5FB4-42DA-988C-D4400F8A15D7}" srcOrd="0" destOrd="0" presId="urn:microsoft.com/office/officeart/2005/8/layout/process4"/>
    <dgm:cxn modelId="{2BD24688-C5C6-4777-8B4C-61402AE4305A}" type="presParOf" srcId="{49659649-2EF7-4586-A95B-58970F77117F}" destId="{757C85E8-B454-49CD-8F22-D3E9EB042994}" srcOrd="1" destOrd="0" presId="urn:microsoft.com/office/officeart/2005/8/layout/process4"/>
    <dgm:cxn modelId="{ED458666-95E1-4DE7-8C92-18DAA5B11F75}" type="presParOf" srcId="{49659649-2EF7-4586-A95B-58970F77117F}" destId="{49A26938-D933-49A6-8EA8-CC39758147BA}" srcOrd="2" destOrd="0" presId="urn:microsoft.com/office/officeart/2005/8/layout/process4"/>
    <dgm:cxn modelId="{C37EECDB-B0D5-4A63-BEB6-467703E3FB05}" type="presParOf" srcId="{EB03EB6B-9574-4EA5-A153-18382C1F2F1E}" destId="{5C7A3FD8-99A0-40CE-B189-AE89EE7F92DA}" srcOrd="5" destOrd="0" presId="urn:microsoft.com/office/officeart/2005/8/layout/process4"/>
    <dgm:cxn modelId="{62D44498-FB3A-483F-82B8-B79064F3756F}" type="presParOf" srcId="{EB03EB6B-9574-4EA5-A153-18382C1F2F1E}" destId="{9105E249-8148-470D-9574-1C494EBCD5E3}" srcOrd="6" destOrd="0" presId="urn:microsoft.com/office/officeart/2005/8/layout/process4"/>
    <dgm:cxn modelId="{2BC045D2-AE29-4733-A160-627CF9059BFE}" type="presParOf" srcId="{9105E249-8148-470D-9574-1C494EBCD5E3}" destId="{354D8C0C-0917-4BA0-8481-476F3B64DDF6}" srcOrd="0" destOrd="0" presId="urn:microsoft.com/office/officeart/2005/8/layout/process4"/>
    <dgm:cxn modelId="{3A600F2A-CCAD-49A9-BBB3-E181F84D224C}" type="presParOf" srcId="{9105E249-8148-470D-9574-1C494EBCD5E3}" destId="{DE4459A0-95C5-4725-9F03-9A0AD2F9926A}" srcOrd="1" destOrd="0" presId="urn:microsoft.com/office/officeart/2005/8/layout/process4"/>
    <dgm:cxn modelId="{AD507E45-5C62-4FEC-B779-5A03C53A1631}" type="presParOf" srcId="{9105E249-8148-470D-9574-1C494EBCD5E3}" destId="{A5543260-F659-408F-9B54-DC9A6C06DF1F}" srcOrd="2" destOrd="0" presId="urn:microsoft.com/office/officeart/2005/8/layout/process4"/>
    <dgm:cxn modelId="{7A3AECCF-5836-413F-9275-712F989489AA}" type="presParOf" srcId="{A5543260-F659-408F-9B54-DC9A6C06DF1F}" destId="{B6AD687A-D1FE-4304-8D99-21A7AA53D287}" srcOrd="0" destOrd="0" presId="urn:microsoft.com/office/officeart/2005/8/layout/process4"/>
    <dgm:cxn modelId="{61CB0C56-3322-4F47-9201-502B74520E83}" type="presParOf" srcId="{A5543260-F659-408F-9B54-DC9A6C06DF1F}" destId="{62EB7941-A74D-4F18-8DE5-485D8A2C4F3A}" srcOrd="1" destOrd="0" presId="urn:microsoft.com/office/officeart/2005/8/layout/process4"/>
    <dgm:cxn modelId="{EE01AE9F-027A-4415-9ADC-458E2A20058A}" type="presParOf" srcId="{A5543260-F659-408F-9B54-DC9A6C06DF1F}" destId="{CEB0F7B0-2A19-4F09-BDC3-8C3B0ACA1B28}" srcOrd="2" destOrd="0" presId="urn:microsoft.com/office/officeart/2005/8/layout/process4"/>
    <dgm:cxn modelId="{030C419F-30B9-4F59-B82C-F0A32614720F}" type="presParOf" srcId="{EB03EB6B-9574-4EA5-A153-18382C1F2F1E}" destId="{1713176F-A260-4F41-BE91-6CED18B891A8}" srcOrd="7" destOrd="0" presId="urn:microsoft.com/office/officeart/2005/8/layout/process4"/>
    <dgm:cxn modelId="{5E46E6D5-6D76-4030-BAC7-77C1FBD7F027}" type="presParOf" srcId="{EB03EB6B-9574-4EA5-A153-18382C1F2F1E}" destId="{4B80C2B2-1C45-4E43-B99D-7E755D5F1010}" srcOrd="8" destOrd="0" presId="urn:microsoft.com/office/officeart/2005/8/layout/process4"/>
    <dgm:cxn modelId="{81BD8AD5-E69B-44E6-AE2B-E6F4F739B41E}" type="presParOf" srcId="{4B80C2B2-1C45-4E43-B99D-7E755D5F1010}" destId="{7187319B-27A8-4119-9C65-A9B885720148}" srcOrd="0" destOrd="0" presId="urn:microsoft.com/office/officeart/2005/8/layout/process4"/>
    <dgm:cxn modelId="{E8E2C035-154E-4B68-9A74-22659D539B55}" type="presParOf" srcId="{4B80C2B2-1C45-4E43-B99D-7E755D5F1010}" destId="{F88137AA-2751-494D-A2CA-74235065E832}" srcOrd="1" destOrd="0" presId="urn:microsoft.com/office/officeart/2005/8/layout/process4"/>
    <dgm:cxn modelId="{58E61E2F-EC20-43A5-B425-417F0C0CD9D8}" type="presParOf" srcId="{4B80C2B2-1C45-4E43-B99D-7E755D5F1010}" destId="{17FADE8B-944B-4353-9345-07596CE7FC8F}" srcOrd="2" destOrd="0" presId="urn:microsoft.com/office/officeart/2005/8/layout/process4"/>
    <dgm:cxn modelId="{E91AD50F-59F5-4E0C-B2A2-3F82738BDC2D}" type="presParOf" srcId="{17FADE8B-944B-4353-9345-07596CE7FC8F}" destId="{0EDD97D6-9FCF-4BD4-9B78-0101DA09CB2A}" srcOrd="0" destOrd="0" presId="urn:microsoft.com/office/officeart/2005/8/layout/process4"/>
    <dgm:cxn modelId="{79ED6CA3-2843-455E-B84C-11978E4DC9F4}" type="presParOf" srcId="{17FADE8B-944B-4353-9345-07596CE7FC8F}" destId="{5B48657E-BE30-4828-B247-6BF8C67A5417}" srcOrd="1" destOrd="0" presId="urn:microsoft.com/office/officeart/2005/8/layout/process4"/>
    <dgm:cxn modelId="{19636885-9EF5-4A68-9E63-A7A621217DFB}" type="presParOf" srcId="{17FADE8B-944B-4353-9345-07596CE7FC8F}" destId="{775BC43A-FF86-4AE6-A97D-A464BAB13759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cycle4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E4B4F9F4-D240-4EF9-8A3E-0060574F32F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omercial : Apps y Soluciones</a:t>
          </a: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929002E-3CFB-46F1-9DED-701E6BDDBBE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ilvestre Acosta :Líder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851D966-4FFE-4248-A9C1-6453E25ADC83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lumno 360</a:t>
          </a:r>
        </a:p>
      </dgm:t>
    </dgm:pt>
    <dgm:pt modelId="{5E16AFD8-F9BA-4FD1-A09E-BF3EB0578E8E}" type="par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299E59F-7CA7-4FC3-AA01-D1FBB0859174}" type="sib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86C129E-19BA-42F5-AD85-4C9625721C2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rlos Vera : Líder </a:t>
          </a:r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C87F9F4-5C07-4BCA-92AB-A2A5B4F9543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nálisis Funcional</a:t>
          </a:r>
        </a:p>
      </dgm:t>
    </dgm:pt>
    <dgm:pt modelId="{C90170B8-5182-4F3F-A080-9441DEDFD996}" type="par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EBC2197-080B-4783-816B-CDB3942CA110}" type="sib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E316323-377A-46B8-A4D4-E479C1061327}">
      <dgm:prSet phldrT="[Texto]" custT="1"/>
      <dgm:spPr/>
      <dgm:t>
        <a:bodyPr/>
        <a:lstStyle/>
        <a:p>
          <a:pPr algn="l"/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Power</a:t>
          </a:r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 BI y ETL</a:t>
          </a:r>
        </a:p>
      </dgm:t>
    </dgm:pt>
    <dgm:pt modelId="{5C5C39FD-74EE-486F-890E-28A1DAAF0B24}" type="par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C408D-DF0A-4D67-9B15-5D6A7CD7F7C3}" type="sib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852CB3-B9A0-47C4-B2D3-60883BCA1CA1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Jhonatan Flores</a:t>
          </a:r>
        </a:p>
      </dgm:t>
    </dgm:pt>
    <dgm:pt modelId="{EDBB7800-6DDB-4558-8FC8-C0BBF127EE1E}" type="par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165C50-7E86-4743-8D75-7CCB095E30B2}" type="sib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60B8BA3-9BEE-40EC-9021-F57BFDFD9DE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Kennedy Luna : PBI y ETL</a:t>
          </a:r>
        </a:p>
      </dgm:t>
    </dgm:pt>
    <dgm:pt modelId="{9DF11160-0D78-4317-8393-A4EB775A8F07}" type="par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772E835-DAF3-4BE6-BFB5-21B108368A1E}" type="sib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B3F148-D3AB-4DE9-8484-36EFA907849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rmen Abad :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Account</a:t>
          </a:r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 Manager</a:t>
          </a:r>
        </a:p>
      </dgm:t>
    </dgm:pt>
    <dgm:pt modelId="{CD72EACC-C299-4AEC-8B2F-673F67F78823}" type="par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8EC97FF-47A0-4996-A0CE-CE0686EDB039}" type="sib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799AD75-C80E-4271-93C2-34DA1D23ED4F}">
      <dgm:prSet phldrT="[Texto]" custT="1"/>
      <dgm:spPr/>
      <dgm:t>
        <a:bodyPr/>
        <a:lstStyle/>
        <a:p>
          <a:pPr algn="ctr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D2A9084-604E-43CF-A4CF-72DC21EA2934}" type="par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1E0072C-1879-43C0-90AD-12BCFEA3EB33}" type="sib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3B12CA-C127-4A9D-B567-EBA22F854EF2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223AE657-B547-42D2-BCC0-100382CA802D}" type="parTrans" cxnId="{A942A1E9-8B79-4026-AED5-0E36C4274B83}">
      <dgm:prSet/>
      <dgm:spPr/>
      <dgm:t>
        <a:bodyPr/>
        <a:lstStyle/>
        <a:p>
          <a:endParaRPr lang="es-PE"/>
        </a:p>
      </dgm:t>
    </dgm:pt>
    <dgm:pt modelId="{9EA55493-7F84-4ED3-AF96-676ED6F03F79}" type="sibTrans" cxnId="{A942A1E9-8B79-4026-AED5-0E36C4274B83}">
      <dgm:prSet/>
      <dgm:spPr/>
      <dgm:t>
        <a:bodyPr/>
        <a:lstStyle/>
        <a:p>
          <a:endParaRPr lang="es-PE"/>
        </a:p>
      </dgm:t>
    </dgm:pt>
    <dgm:pt modelId="{7C3C2334-FDB1-45ED-9ED0-89F3C19363D6}">
      <dgm:prSet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Kennedy Luna : Consultor BI</a:t>
          </a:r>
        </a:p>
      </dgm:t>
    </dgm:pt>
    <dgm:pt modelId="{B4FC8E28-1C3B-4D0C-8A6D-516465F47162}" type="parTrans" cxnId="{6B1ED6C1-3B4E-4D3D-8970-FE5CB33934AB}">
      <dgm:prSet/>
      <dgm:spPr/>
      <dgm:t>
        <a:bodyPr/>
        <a:lstStyle/>
        <a:p>
          <a:endParaRPr lang="es-PE"/>
        </a:p>
      </dgm:t>
    </dgm:pt>
    <dgm:pt modelId="{0D54DF41-42C8-4324-8C49-E27866BFC722}" type="sibTrans" cxnId="{6B1ED6C1-3B4E-4D3D-8970-FE5CB33934AB}">
      <dgm:prSet/>
      <dgm:spPr/>
      <dgm:t>
        <a:bodyPr/>
        <a:lstStyle/>
        <a:p>
          <a:endParaRPr lang="es-PE"/>
        </a:p>
      </dgm:t>
    </dgm:pt>
    <dgm:pt modelId="{1485992C-ACF2-43E9-94CE-A2B4DBDF0FED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Yakori : ETL</a:t>
          </a:r>
        </a:p>
      </dgm:t>
    </dgm:pt>
    <dgm:pt modelId="{A23B9CB8-1FF4-405E-8268-456ABCFA41C5}" type="parTrans" cxnId="{FEF3D2A9-9069-4029-859D-D68E3229E3A4}">
      <dgm:prSet/>
      <dgm:spPr/>
      <dgm:t>
        <a:bodyPr/>
        <a:lstStyle/>
        <a:p>
          <a:endParaRPr lang="es-PE"/>
        </a:p>
      </dgm:t>
    </dgm:pt>
    <dgm:pt modelId="{BBFF37DB-83BB-476F-8104-B46484E0080F}" type="sibTrans" cxnId="{FEF3D2A9-9069-4029-859D-D68E3229E3A4}">
      <dgm:prSet/>
      <dgm:spPr/>
      <dgm:t>
        <a:bodyPr/>
        <a:lstStyle/>
        <a:p>
          <a:endParaRPr lang="es-PE"/>
        </a:p>
      </dgm:t>
    </dgm:pt>
    <dgm:pt modelId="{807A796C-59CA-4B47-B41B-40C215B37FB1}">
      <dgm:prSet phldrT="[Texto]" custT="1"/>
      <dgm:spPr/>
      <dgm:t>
        <a:bodyPr/>
        <a:lstStyle/>
        <a:p>
          <a:pPr algn="l"/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Saidi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67030ED-EC0B-42C3-8F22-682389369422}" type="parTrans" cxnId="{8AA9458F-1113-4060-B603-C3A724257806}">
      <dgm:prSet/>
      <dgm:spPr/>
      <dgm:t>
        <a:bodyPr/>
        <a:lstStyle/>
        <a:p>
          <a:endParaRPr lang="es-PE"/>
        </a:p>
      </dgm:t>
    </dgm:pt>
    <dgm:pt modelId="{0E5CD37A-C285-4743-8F96-F96C59D9013D}" type="sibTrans" cxnId="{8AA9458F-1113-4060-B603-C3A724257806}">
      <dgm:prSet/>
      <dgm:spPr/>
      <dgm:t>
        <a:bodyPr/>
        <a:lstStyle/>
        <a:p>
          <a:endParaRPr lang="es-PE"/>
        </a:p>
      </dgm:t>
    </dgm:pt>
    <dgm:pt modelId="{BDE4CEE4-C47C-45EC-81AD-A1BC60FDF352}" type="pres">
      <dgm:prSet presAssocID="{7C456F81-39E8-4A49-BB92-6D9710B9C0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62491048-5F76-467B-AE99-5133D1177474}" type="pres">
      <dgm:prSet presAssocID="{7C456F81-39E8-4A49-BB92-6D9710B9C081}" presName="children" presStyleCnt="0"/>
      <dgm:spPr/>
    </dgm:pt>
    <dgm:pt modelId="{6E853767-6E31-4444-AF02-7B2CBE101B8E}" type="pres">
      <dgm:prSet presAssocID="{7C456F81-39E8-4A49-BB92-6D9710B9C081}" presName="child1group" presStyleCnt="0"/>
      <dgm:spPr/>
    </dgm:pt>
    <dgm:pt modelId="{C29649C1-A21A-4DA3-B338-7BCE30F32902}" type="pres">
      <dgm:prSet presAssocID="{7C456F81-39E8-4A49-BB92-6D9710B9C081}" presName="child1" presStyleLbl="bgAcc1" presStyleIdx="0" presStyleCnt="4" custScaleX="124258"/>
      <dgm:spPr/>
    </dgm:pt>
    <dgm:pt modelId="{3296EC63-F60C-416C-A940-CC7B10F00735}" type="pres">
      <dgm:prSet presAssocID="{7C456F81-39E8-4A49-BB92-6D9710B9C081}" presName="child1Text" presStyleLbl="bgAcc1" presStyleIdx="0" presStyleCnt="4">
        <dgm:presLayoutVars>
          <dgm:bulletEnabled val="1"/>
        </dgm:presLayoutVars>
      </dgm:prSet>
      <dgm:spPr/>
    </dgm:pt>
    <dgm:pt modelId="{8303CC75-F15F-4FEE-ACBD-EA591A19E76D}" type="pres">
      <dgm:prSet presAssocID="{7C456F81-39E8-4A49-BB92-6D9710B9C081}" presName="child2group" presStyleCnt="0"/>
      <dgm:spPr/>
    </dgm:pt>
    <dgm:pt modelId="{2FE30161-5C60-466C-9BF5-CEFA31F54EA4}" type="pres">
      <dgm:prSet presAssocID="{7C456F81-39E8-4A49-BB92-6D9710B9C081}" presName="child2" presStyleLbl="bgAcc1" presStyleIdx="1" presStyleCnt="4" custScaleX="133425"/>
      <dgm:spPr/>
    </dgm:pt>
    <dgm:pt modelId="{0490E39C-4561-4FD8-A041-E2CE221E0201}" type="pres">
      <dgm:prSet presAssocID="{7C456F81-39E8-4A49-BB92-6D9710B9C081}" presName="child2Text" presStyleLbl="bgAcc1" presStyleIdx="1" presStyleCnt="4">
        <dgm:presLayoutVars>
          <dgm:bulletEnabled val="1"/>
        </dgm:presLayoutVars>
      </dgm:prSet>
      <dgm:spPr/>
    </dgm:pt>
    <dgm:pt modelId="{54800330-ABE4-45B8-A995-4267527DC675}" type="pres">
      <dgm:prSet presAssocID="{7C456F81-39E8-4A49-BB92-6D9710B9C081}" presName="child3group" presStyleCnt="0"/>
      <dgm:spPr/>
    </dgm:pt>
    <dgm:pt modelId="{88A41F62-FAE9-43B9-9163-89540FD6DEC1}" type="pres">
      <dgm:prSet presAssocID="{7C456F81-39E8-4A49-BB92-6D9710B9C081}" presName="child3" presStyleLbl="bgAcc1" presStyleIdx="2" presStyleCnt="4" custScaleX="124258"/>
      <dgm:spPr/>
    </dgm:pt>
    <dgm:pt modelId="{F880890C-E0DB-4561-89DF-2CC0FF9360F6}" type="pres">
      <dgm:prSet presAssocID="{7C456F81-39E8-4A49-BB92-6D9710B9C081}" presName="child3Text" presStyleLbl="bgAcc1" presStyleIdx="2" presStyleCnt="4">
        <dgm:presLayoutVars>
          <dgm:bulletEnabled val="1"/>
        </dgm:presLayoutVars>
      </dgm:prSet>
      <dgm:spPr/>
    </dgm:pt>
    <dgm:pt modelId="{77607CE4-FF30-4062-968C-144ED4541439}" type="pres">
      <dgm:prSet presAssocID="{7C456F81-39E8-4A49-BB92-6D9710B9C081}" presName="child4group" presStyleCnt="0"/>
      <dgm:spPr/>
    </dgm:pt>
    <dgm:pt modelId="{B4C96BEC-98F9-4EC5-AC0B-14E5BD424531}" type="pres">
      <dgm:prSet presAssocID="{7C456F81-39E8-4A49-BB92-6D9710B9C081}" presName="child4" presStyleLbl="bgAcc1" presStyleIdx="3" presStyleCnt="4" custScaleX="124258"/>
      <dgm:spPr/>
    </dgm:pt>
    <dgm:pt modelId="{2D81F979-A773-416C-BD04-9CD94B0F524A}" type="pres">
      <dgm:prSet presAssocID="{7C456F81-39E8-4A49-BB92-6D9710B9C081}" presName="child4Text" presStyleLbl="bgAcc1" presStyleIdx="3" presStyleCnt="4">
        <dgm:presLayoutVars>
          <dgm:bulletEnabled val="1"/>
        </dgm:presLayoutVars>
      </dgm:prSet>
      <dgm:spPr/>
    </dgm:pt>
    <dgm:pt modelId="{FDE757A6-8470-4F81-B7A1-D7B39E4E607E}" type="pres">
      <dgm:prSet presAssocID="{7C456F81-39E8-4A49-BB92-6D9710B9C081}" presName="childPlaceholder" presStyleCnt="0"/>
      <dgm:spPr/>
    </dgm:pt>
    <dgm:pt modelId="{384C7EE9-0388-4DA1-BD85-966B9DA5D161}" type="pres">
      <dgm:prSet presAssocID="{7C456F81-39E8-4A49-BB92-6D9710B9C081}" presName="circle" presStyleCnt="0"/>
      <dgm:spPr/>
    </dgm:pt>
    <dgm:pt modelId="{048FFB3B-5C29-49EB-AAB3-FDFCE6B26557}" type="pres">
      <dgm:prSet presAssocID="{7C456F81-39E8-4A49-BB92-6D9710B9C0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59459A3E-2B79-4498-9275-243D04AC410B}" type="pres">
      <dgm:prSet presAssocID="{7C456F81-39E8-4A49-BB92-6D9710B9C0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A3B16A58-2DDC-4772-A2E5-036D308AB6DA}" type="pres">
      <dgm:prSet presAssocID="{7C456F81-39E8-4A49-BB92-6D9710B9C0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075A8DE5-85A6-4DDB-8683-6AC871D00272}" type="pres">
      <dgm:prSet presAssocID="{7C456F81-39E8-4A49-BB92-6D9710B9C0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C4F9DF83-19E7-4294-9EAB-6E3226948A20}" type="pres">
      <dgm:prSet presAssocID="{7C456F81-39E8-4A49-BB92-6D9710B9C081}" presName="quadrantPlaceholder" presStyleCnt="0"/>
      <dgm:spPr/>
    </dgm:pt>
    <dgm:pt modelId="{2934D2CC-D2D2-4613-8CAD-C85CD795A0B6}" type="pres">
      <dgm:prSet presAssocID="{7C456F81-39E8-4A49-BB92-6D9710B9C081}" presName="center1" presStyleLbl="fgShp" presStyleIdx="0" presStyleCnt="2"/>
      <dgm:spPr/>
    </dgm:pt>
    <dgm:pt modelId="{9212ADAD-FAEF-411D-AFA9-FF42E3FF5D3C}" type="pres">
      <dgm:prSet presAssocID="{7C456F81-39E8-4A49-BB92-6D9710B9C081}" presName="center2" presStyleLbl="fgShp" presStyleIdx="1" presStyleCnt="2"/>
      <dgm:spPr/>
    </dgm:pt>
  </dgm:ptLst>
  <dgm:cxnLst>
    <dgm:cxn modelId="{E2FFA002-D3DA-4E19-BFE4-8324C4824874}" type="presOf" srcId="{8799AD75-C80E-4271-93C2-34DA1D23ED4F}" destId="{F880890C-E0DB-4561-89DF-2CC0FF9360F6}" srcOrd="1" destOrd="1" presId="urn:microsoft.com/office/officeart/2005/8/layout/cycle4"/>
    <dgm:cxn modelId="{E9B8BA10-FC82-4C8E-8BE9-C2E69019A018}" srcId="{8C87F9F4-5C07-4BCA-92AB-A2A5B4F95435}" destId="{8799AD75-C80E-4271-93C2-34DA1D23ED4F}" srcOrd="1" destOrd="0" parTransId="{1D2A9084-604E-43CF-A4CF-72DC21EA2934}" sibTransId="{71E0072C-1879-43C0-90AD-12BCFEA3EB33}"/>
    <dgm:cxn modelId="{BDBF4014-9DB3-4E4E-B72A-454B7E2B3097}" srcId="{7C456F81-39E8-4A49-BB92-6D9710B9C081}" destId="{D851D966-4FFE-4248-A9C1-6453E25ADC83}" srcOrd="1" destOrd="0" parTransId="{5E16AFD8-F9BA-4FD1-A09E-BF3EB0578E8E}" sibTransId="{F299E59F-7CA7-4FC3-AA01-D1FBB0859174}"/>
    <dgm:cxn modelId="{5C659416-6146-45A4-AADB-EFB57F07326C}" type="presOf" srcId="{0929002E-3CFB-46F1-9DED-701E6BDDBBE5}" destId="{0490E39C-4561-4FD8-A041-E2CE221E0201}" srcOrd="1" destOrd="0" presId="urn:microsoft.com/office/officeart/2005/8/layout/cycle4"/>
    <dgm:cxn modelId="{C5946918-E62E-4BD7-9743-80867A6A281E}" srcId="{7C456F81-39E8-4A49-BB92-6D9710B9C081}" destId="{8C87F9F4-5C07-4BCA-92AB-A2A5B4F95435}" srcOrd="2" destOrd="0" parTransId="{C90170B8-5182-4F3F-A080-9441DEDFD996}" sibTransId="{9EBC2197-080B-4783-816B-CDB3942CA110}"/>
    <dgm:cxn modelId="{F89F1331-D109-4373-A2B7-B6DA43A08761}" type="presOf" srcId="{0929002E-3CFB-46F1-9DED-701E6BDDBBE5}" destId="{2FE30161-5C60-466C-9BF5-CEFA31F54EA4}" srcOrd="0" destOrd="0" presId="urn:microsoft.com/office/officeart/2005/8/layout/cycle4"/>
    <dgm:cxn modelId="{52F30536-B6F6-4C20-90B9-8B44E79CF3E2}" type="presOf" srcId="{807A796C-59CA-4B47-B41B-40C215B37FB1}" destId="{2D81F979-A773-416C-BD04-9CD94B0F524A}" srcOrd="1" destOrd="2" presId="urn:microsoft.com/office/officeart/2005/8/layout/cycle4"/>
    <dgm:cxn modelId="{C6B91D5D-2F02-4486-AE39-C44EEC75DAC4}" type="presOf" srcId="{3E852CB3-B9A0-47C4-B2D3-60883BCA1CA1}" destId="{F880890C-E0DB-4561-89DF-2CC0FF9360F6}" srcOrd="1" destOrd="0" presId="urn:microsoft.com/office/officeart/2005/8/layout/cycle4"/>
    <dgm:cxn modelId="{3CEDB05E-A443-4B05-9DF3-C0F42D5EDC76}" type="presOf" srcId="{C03B12CA-C127-4A9D-B567-EBA22F854EF2}" destId="{2FE30161-5C60-466C-9BF5-CEFA31F54EA4}" srcOrd="0" destOrd="2" presId="urn:microsoft.com/office/officeart/2005/8/layout/cycle4"/>
    <dgm:cxn modelId="{9E9AA05F-1AE7-427C-9081-FB058A3450EF}" srcId="{D851D966-4FFE-4248-A9C1-6453E25ADC83}" destId="{0929002E-3CFB-46F1-9DED-701E6BDDBBE5}" srcOrd="0" destOrd="0" parTransId="{AD8E2242-6023-4FA1-A34B-BE65322F502E}" sibTransId="{0D4F85F6-A19F-4209-A6A7-43F65AB97D31}"/>
    <dgm:cxn modelId="{DEDDF041-E200-4C34-833F-58439D2B837F}" srcId="{E4B4F9F4-D240-4EF9-8A3E-0060574F32FE}" destId="{C0B3F148-D3AB-4DE9-8484-36EFA907849C}" srcOrd="1" destOrd="0" parTransId="{CD72EACC-C299-4AEC-8B2F-673F67F78823}" sibTransId="{98EC97FF-47A0-4996-A0CE-CE0686EDB039}"/>
    <dgm:cxn modelId="{77D51667-E4BE-4C05-BBC2-001B239831BB}" type="presOf" srcId="{C0B3F148-D3AB-4DE9-8484-36EFA907849C}" destId="{C29649C1-A21A-4DA3-B338-7BCE30F32902}" srcOrd="0" destOrd="1" presId="urn:microsoft.com/office/officeart/2005/8/layout/cycle4"/>
    <dgm:cxn modelId="{D00FD767-3F81-4DF4-AC2F-161C7620830B}" type="presOf" srcId="{5E316323-377A-46B8-A4D4-E479C1061327}" destId="{075A8DE5-85A6-4DDB-8683-6AC871D00272}" srcOrd="0" destOrd="0" presId="urn:microsoft.com/office/officeart/2005/8/layout/cycle4"/>
    <dgm:cxn modelId="{EB66D449-7199-4143-B1FC-6E311CC463E1}" type="presOf" srcId="{7C3C2334-FDB1-45ED-9ED0-89F3C19363D6}" destId="{2FE30161-5C60-466C-9BF5-CEFA31F54EA4}" srcOrd="0" destOrd="1" presId="urn:microsoft.com/office/officeart/2005/8/layout/cycle4"/>
    <dgm:cxn modelId="{77E50D6C-6018-4AA1-8160-17809E98F736}" type="presOf" srcId="{C0B3F148-D3AB-4DE9-8484-36EFA907849C}" destId="{3296EC63-F60C-416C-A940-CC7B10F00735}" srcOrd="1" destOrd="1" presId="urn:microsoft.com/office/officeart/2005/8/layout/cycle4"/>
    <dgm:cxn modelId="{AEEF4773-4E57-4AB2-9B98-C87F214302E4}" type="presOf" srcId="{360B8BA3-9BEE-40EC-9021-F57BFDFD9DE8}" destId="{B4C96BEC-98F9-4EC5-AC0B-14E5BD424531}" srcOrd="0" destOrd="0" presId="urn:microsoft.com/office/officeart/2005/8/layout/cycle4"/>
    <dgm:cxn modelId="{88BA1856-43D6-4E0F-82A9-28F977ABF6E3}" type="presOf" srcId="{8799AD75-C80E-4271-93C2-34DA1D23ED4F}" destId="{88A41F62-FAE9-43B9-9163-89540FD6DEC1}" srcOrd="0" destOrd="1" presId="urn:microsoft.com/office/officeart/2005/8/layout/cycle4"/>
    <dgm:cxn modelId="{185B4058-5DD3-4244-B8F2-0806394C2487}" type="presOf" srcId="{3E852CB3-B9A0-47C4-B2D3-60883BCA1CA1}" destId="{88A41F62-FAE9-43B9-9163-89540FD6DEC1}" srcOrd="0" destOrd="0" presId="urn:microsoft.com/office/officeart/2005/8/layout/cycle4"/>
    <dgm:cxn modelId="{BD1C4158-62EB-4491-844D-D8FB0A4F6F71}" type="presOf" srcId="{7C3C2334-FDB1-45ED-9ED0-89F3C19363D6}" destId="{0490E39C-4561-4FD8-A041-E2CE221E0201}" srcOrd="1" destOrd="1" presId="urn:microsoft.com/office/officeart/2005/8/layout/cycle4"/>
    <dgm:cxn modelId="{EE4E087D-975B-41C6-B8F5-F94608338B92}" type="presOf" srcId="{807A796C-59CA-4B47-B41B-40C215B37FB1}" destId="{B4C96BEC-98F9-4EC5-AC0B-14E5BD424531}" srcOrd="0" destOrd="2" presId="urn:microsoft.com/office/officeart/2005/8/layout/cycle4"/>
    <dgm:cxn modelId="{63852A8A-B292-4273-B79D-57753CB8F4E0}" type="presOf" srcId="{8C87F9F4-5C07-4BCA-92AB-A2A5B4F95435}" destId="{A3B16A58-2DDC-4772-A2E5-036D308AB6DA}" srcOrd="0" destOrd="0" presId="urn:microsoft.com/office/officeart/2005/8/layout/cycle4"/>
    <dgm:cxn modelId="{03F1418D-D70E-44E8-B7F6-9C6D431AF345}" type="presOf" srcId="{1485992C-ACF2-43E9-94CE-A2B4DBDF0FED}" destId="{B4C96BEC-98F9-4EC5-AC0B-14E5BD424531}" srcOrd="0" destOrd="1" presId="urn:microsoft.com/office/officeart/2005/8/layout/cycle4"/>
    <dgm:cxn modelId="{8AA9458F-1113-4060-B603-C3A724257806}" srcId="{5E316323-377A-46B8-A4D4-E479C1061327}" destId="{807A796C-59CA-4B47-B41B-40C215B37FB1}" srcOrd="2" destOrd="0" parTransId="{167030ED-EC0B-42C3-8F22-682389369422}" sibTransId="{0E5CD37A-C285-4743-8F96-F96C59D9013D}"/>
    <dgm:cxn modelId="{AA2F7394-5781-4D49-BD1F-B45EF59D4D50}" type="presOf" srcId="{486C129E-19BA-42F5-AD85-4C9625721C2E}" destId="{3296EC63-F60C-416C-A940-CC7B10F00735}" srcOrd="1" destOrd="0" presId="urn:microsoft.com/office/officeart/2005/8/layout/cycle4"/>
    <dgm:cxn modelId="{BF6CEEA7-B79C-49B6-BBCB-C2F35D55C285}" srcId="{8C87F9F4-5C07-4BCA-92AB-A2A5B4F95435}" destId="{3E852CB3-B9A0-47C4-B2D3-60883BCA1CA1}" srcOrd="0" destOrd="0" parTransId="{EDBB7800-6DDB-4558-8FC8-C0BBF127EE1E}" sibTransId="{3E165C50-7E86-4743-8D75-7CCB095E30B2}"/>
    <dgm:cxn modelId="{FEF3D2A9-9069-4029-859D-D68E3229E3A4}" srcId="{5E316323-377A-46B8-A4D4-E479C1061327}" destId="{1485992C-ACF2-43E9-94CE-A2B4DBDF0FED}" srcOrd="1" destOrd="0" parTransId="{A23B9CB8-1FF4-405E-8268-456ABCFA41C5}" sibTransId="{BBFF37DB-83BB-476F-8104-B46484E0080F}"/>
    <dgm:cxn modelId="{8C7301AA-A618-47CB-8AD5-B88DB886D857}" type="presOf" srcId="{C03B12CA-C127-4A9D-B567-EBA22F854EF2}" destId="{0490E39C-4561-4FD8-A041-E2CE221E0201}" srcOrd="1" destOrd="2" presId="urn:microsoft.com/office/officeart/2005/8/layout/cycle4"/>
    <dgm:cxn modelId="{8C1EABAC-5852-45B3-8917-10A0FC30A315}" type="presOf" srcId="{1485992C-ACF2-43E9-94CE-A2B4DBDF0FED}" destId="{2D81F979-A773-416C-BD04-9CD94B0F524A}" srcOrd="1" destOrd="1" presId="urn:microsoft.com/office/officeart/2005/8/layout/cycle4"/>
    <dgm:cxn modelId="{F659BFB7-D9D5-4C7B-8DD5-EB42490C1C74}" srcId="{5E316323-377A-46B8-A4D4-E479C1061327}" destId="{360B8BA3-9BEE-40EC-9021-F57BFDFD9DE8}" srcOrd="0" destOrd="0" parTransId="{9DF11160-0D78-4317-8393-A4EB775A8F07}" sibTransId="{9772E835-DAF3-4BE6-BFB5-21B108368A1E}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EA01F1BE-F7A3-412C-9F55-B39BC855A8B3}" srcId="{7C456F81-39E8-4A49-BB92-6D9710B9C081}" destId="{E4B4F9F4-D240-4EF9-8A3E-0060574F32FE}" srcOrd="0" destOrd="0" parTransId="{686EE54E-2CC1-4ABF-B221-047AC1ECAA71}" sibTransId="{EC5EB5C7-F1A2-4FE5-A33B-B7B5FE53412C}"/>
    <dgm:cxn modelId="{6B1ED6C1-3B4E-4D3D-8970-FE5CB33934AB}" srcId="{D851D966-4FFE-4248-A9C1-6453E25ADC83}" destId="{7C3C2334-FDB1-45ED-9ED0-89F3C19363D6}" srcOrd="1" destOrd="0" parTransId="{B4FC8E28-1C3B-4D0C-8A6D-516465F47162}" sibTransId="{0D54DF41-42C8-4324-8C49-E27866BFC722}"/>
    <dgm:cxn modelId="{2537BCD4-CC54-4193-B12B-37BBB1C8B0DB}" type="presOf" srcId="{7C456F81-39E8-4A49-BB92-6D9710B9C081}" destId="{BDE4CEE4-C47C-45EC-81AD-A1BC60FDF352}" srcOrd="0" destOrd="0" presId="urn:microsoft.com/office/officeart/2005/8/layout/cycle4"/>
    <dgm:cxn modelId="{07C483D8-56AD-4E28-A956-C6F0B66FA071}" type="presOf" srcId="{D851D966-4FFE-4248-A9C1-6453E25ADC83}" destId="{59459A3E-2B79-4498-9275-243D04AC410B}" srcOrd="0" destOrd="0" presId="urn:microsoft.com/office/officeart/2005/8/layout/cycle4"/>
    <dgm:cxn modelId="{2E5E16E2-4085-4B1D-8261-70A3BEFBE6A5}" type="presOf" srcId="{360B8BA3-9BEE-40EC-9021-F57BFDFD9DE8}" destId="{2D81F979-A773-416C-BD04-9CD94B0F524A}" srcOrd="1" destOrd="0" presId="urn:microsoft.com/office/officeart/2005/8/layout/cycle4"/>
    <dgm:cxn modelId="{A942A1E9-8B79-4026-AED5-0E36C4274B83}" srcId="{D851D966-4FFE-4248-A9C1-6453E25ADC83}" destId="{C03B12CA-C127-4A9D-B567-EBA22F854EF2}" srcOrd="2" destOrd="0" parTransId="{223AE657-B547-42D2-BCC0-100382CA802D}" sibTransId="{9EA55493-7F84-4ED3-AF96-676ED6F03F79}"/>
    <dgm:cxn modelId="{E5B183FA-F359-4FF2-B8BF-35CAE6F71480}" srcId="{7C456F81-39E8-4A49-BB92-6D9710B9C081}" destId="{5E316323-377A-46B8-A4D4-E479C1061327}" srcOrd="3" destOrd="0" parTransId="{5C5C39FD-74EE-486F-890E-28A1DAAF0B24}" sibTransId="{ECFC408D-DF0A-4D67-9B15-5D6A7CD7F7C3}"/>
    <dgm:cxn modelId="{2C2442FC-8EC2-427B-B621-EF64B6225861}" type="presOf" srcId="{E4B4F9F4-D240-4EF9-8A3E-0060574F32FE}" destId="{048FFB3B-5C29-49EB-AAB3-FDFCE6B26557}" srcOrd="0" destOrd="0" presId="urn:microsoft.com/office/officeart/2005/8/layout/cycle4"/>
    <dgm:cxn modelId="{53AC71FF-BF0D-4B49-B665-44186FEB4678}" type="presOf" srcId="{486C129E-19BA-42F5-AD85-4C9625721C2E}" destId="{C29649C1-A21A-4DA3-B338-7BCE30F32902}" srcOrd="0" destOrd="0" presId="urn:microsoft.com/office/officeart/2005/8/layout/cycle4"/>
    <dgm:cxn modelId="{1E3BDFB4-CE6B-48BC-AED5-3D33C908E606}" type="presParOf" srcId="{BDE4CEE4-C47C-45EC-81AD-A1BC60FDF352}" destId="{62491048-5F76-467B-AE99-5133D1177474}" srcOrd="0" destOrd="0" presId="urn:microsoft.com/office/officeart/2005/8/layout/cycle4"/>
    <dgm:cxn modelId="{37F9415F-C6D5-44A5-81A0-3E6FF1395ABF}" type="presParOf" srcId="{62491048-5F76-467B-AE99-5133D1177474}" destId="{6E853767-6E31-4444-AF02-7B2CBE101B8E}" srcOrd="0" destOrd="0" presId="urn:microsoft.com/office/officeart/2005/8/layout/cycle4"/>
    <dgm:cxn modelId="{9ED81D2A-1C3E-417B-A7B6-C1F91415EE9A}" type="presParOf" srcId="{6E853767-6E31-4444-AF02-7B2CBE101B8E}" destId="{C29649C1-A21A-4DA3-B338-7BCE30F32902}" srcOrd="0" destOrd="0" presId="urn:microsoft.com/office/officeart/2005/8/layout/cycle4"/>
    <dgm:cxn modelId="{5CE1AC24-FFDA-4ECB-9CB6-BB6126DB53DC}" type="presParOf" srcId="{6E853767-6E31-4444-AF02-7B2CBE101B8E}" destId="{3296EC63-F60C-416C-A940-CC7B10F00735}" srcOrd="1" destOrd="0" presId="urn:microsoft.com/office/officeart/2005/8/layout/cycle4"/>
    <dgm:cxn modelId="{EA7EFA47-7981-4224-8B86-452332F24C13}" type="presParOf" srcId="{62491048-5F76-467B-AE99-5133D1177474}" destId="{8303CC75-F15F-4FEE-ACBD-EA591A19E76D}" srcOrd="1" destOrd="0" presId="urn:microsoft.com/office/officeart/2005/8/layout/cycle4"/>
    <dgm:cxn modelId="{989817EA-FC9B-4958-917A-81778207712F}" type="presParOf" srcId="{8303CC75-F15F-4FEE-ACBD-EA591A19E76D}" destId="{2FE30161-5C60-466C-9BF5-CEFA31F54EA4}" srcOrd="0" destOrd="0" presId="urn:microsoft.com/office/officeart/2005/8/layout/cycle4"/>
    <dgm:cxn modelId="{E6B55021-C1CC-4B43-BF4C-63A304307B39}" type="presParOf" srcId="{8303CC75-F15F-4FEE-ACBD-EA591A19E76D}" destId="{0490E39C-4561-4FD8-A041-E2CE221E0201}" srcOrd="1" destOrd="0" presId="urn:microsoft.com/office/officeart/2005/8/layout/cycle4"/>
    <dgm:cxn modelId="{D9ACF86A-97FF-4334-BBC2-D3A71436FDDF}" type="presParOf" srcId="{62491048-5F76-467B-AE99-5133D1177474}" destId="{54800330-ABE4-45B8-A995-4267527DC675}" srcOrd="2" destOrd="0" presId="urn:microsoft.com/office/officeart/2005/8/layout/cycle4"/>
    <dgm:cxn modelId="{3E97A0D5-AABB-4CA4-BB37-D48658DB867F}" type="presParOf" srcId="{54800330-ABE4-45B8-A995-4267527DC675}" destId="{88A41F62-FAE9-43B9-9163-89540FD6DEC1}" srcOrd="0" destOrd="0" presId="urn:microsoft.com/office/officeart/2005/8/layout/cycle4"/>
    <dgm:cxn modelId="{1B6C8625-BCA9-4C9A-82E7-D4AFAA969454}" type="presParOf" srcId="{54800330-ABE4-45B8-A995-4267527DC675}" destId="{F880890C-E0DB-4561-89DF-2CC0FF9360F6}" srcOrd="1" destOrd="0" presId="urn:microsoft.com/office/officeart/2005/8/layout/cycle4"/>
    <dgm:cxn modelId="{4872445E-35F6-4A6E-8102-B4BEB09C5CE8}" type="presParOf" srcId="{62491048-5F76-467B-AE99-5133D1177474}" destId="{77607CE4-FF30-4062-968C-144ED4541439}" srcOrd="3" destOrd="0" presId="urn:microsoft.com/office/officeart/2005/8/layout/cycle4"/>
    <dgm:cxn modelId="{8A8C1B51-262B-4139-9589-11E52B876D82}" type="presParOf" srcId="{77607CE4-FF30-4062-968C-144ED4541439}" destId="{B4C96BEC-98F9-4EC5-AC0B-14E5BD424531}" srcOrd="0" destOrd="0" presId="urn:microsoft.com/office/officeart/2005/8/layout/cycle4"/>
    <dgm:cxn modelId="{E7F88C36-F776-45F9-A20A-A8134C77B8AA}" type="presParOf" srcId="{77607CE4-FF30-4062-968C-144ED4541439}" destId="{2D81F979-A773-416C-BD04-9CD94B0F524A}" srcOrd="1" destOrd="0" presId="urn:microsoft.com/office/officeart/2005/8/layout/cycle4"/>
    <dgm:cxn modelId="{BA4CA42B-F2C9-42EB-9C06-51378B7B2F8F}" type="presParOf" srcId="{62491048-5F76-467B-AE99-5133D1177474}" destId="{FDE757A6-8470-4F81-B7A1-D7B39E4E607E}" srcOrd="4" destOrd="0" presId="urn:microsoft.com/office/officeart/2005/8/layout/cycle4"/>
    <dgm:cxn modelId="{286B35D7-71B6-47B9-9AC1-F3AB1321BC3D}" type="presParOf" srcId="{BDE4CEE4-C47C-45EC-81AD-A1BC60FDF352}" destId="{384C7EE9-0388-4DA1-BD85-966B9DA5D161}" srcOrd="1" destOrd="0" presId="urn:microsoft.com/office/officeart/2005/8/layout/cycle4"/>
    <dgm:cxn modelId="{CAA6091D-25CE-4293-9EFD-CAC9FC0E1A1D}" type="presParOf" srcId="{384C7EE9-0388-4DA1-BD85-966B9DA5D161}" destId="{048FFB3B-5C29-49EB-AAB3-FDFCE6B26557}" srcOrd="0" destOrd="0" presId="urn:microsoft.com/office/officeart/2005/8/layout/cycle4"/>
    <dgm:cxn modelId="{98761579-7B9C-4BB1-B6BA-3971EF66368E}" type="presParOf" srcId="{384C7EE9-0388-4DA1-BD85-966B9DA5D161}" destId="{59459A3E-2B79-4498-9275-243D04AC410B}" srcOrd="1" destOrd="0" presId="urn:microsoft.com/office/officeart/2005/8/layout/cycle4"/>
    <dgm:cxn modelId="{6E40A1E4-D147-4F35-B243-12F63E8498C0}" type="presParOf" srcId="{384C7EE9-0388-4DA1-BD85-966B9DA5D161}" destId="{A3B16A58-2DDC-4772-A2E5-036D308AB6DA}" srcOrd="2" destOrd="0" presId="urn:microsoft.com/office/officeart/2005/8/layout/cycle4"/>
    <dgm:cxn modelId="{4E226DF9-61C9-4925-B10D-136FDFF6BF54}" type="presParOf" srcId="{384C7EE9-0388-4DA1-BD85-966B9DA5D161}" destId="{075A8DE5-85A6-4DDB-8683-6AC871D00272}" srcOrd="3" destOrd="0" presId="urn:microsoft.com/office/officeart/2005/8/layout/cycle4"/>
    <dgm:cxn modelId="{8F17C722-CDE4-4D80-952B-4B5B79269950}" type="presParOf" srcId="{384C7EE9-0388-4DA1-BD85-966B9DA5D161}" destId="{C4F9DF83-19E7-4294-9EAB-6E3226948A20}" srcOrd="4" destOrd="0" presId="urn:microsoft.com/office/officeart/2005/8/layout/cycle4"/>
    <dgm:cxn modelId="{87FF2E35-1BB5-4A03-BE67-C7DAA8BF92AC}" type="presParOf" srcId="{BDE4CEE4-C47C-45EC-81AD-A1BC60FDF352}" destId="{2934D2CC-D2D2-4613-8CAD-C85CD795A0B6}" srcOrd="2" destOrd="0" presId="urn:microsoft.com/office/officeart/2005/8/layout/cycle4"/>
    <dgm:cxn modelId="{BCA5A62C-2AB6-458D-B18A-313CD26C0BC5}" type="presParOf" srcId="{BDE4CEE4-C47C-45EC-81AD-A1BC60FDF352}" destId="{9212ADAD-FAEF-411D-AFA9-FF42E3FF5D3C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E4B4F9F4-D240-4EF9-8A3E-0060574F32FE}">
      <dgm:prSet phldrT="[Texto]" custT="1"/>
      <dgm:spPr/>
      <dgm:t>
        <a:bodyPr/>
        <a:lstStyle/>
        <a:p>
          <a:pPr algn="l"/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Sipan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929002E-3CFB-46F1-9DED-701E6BDDBBE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Reportes por Auspiciador centralizadores (DSYO)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A0D1D621-DA49-4B24-9D22-997E3493B32D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odelos de reporte (repositorio)</a:t>
          </a:r>
        </a:p>
      </dgm:t>
    </dgm:pt>
    <dgm:pt modelId="{E3ECB5E8-A935-4CFC-8698-EA5FF877B4E3}" type="par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AEA91CA-D5DB-4CEF-B363-98AB51DD8415}" type="sib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3918B2B-A56B-49E5-A99E-FB8B8DD6201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zar variables</a:t>
          </a:r>
        </a:p>
      </dgm:t>
    </dgm:pt>
    <dgm:pt modelId="{771A4284-DC55-4997-B76F-6C9FAAC618D2}" type="par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4DCBC2E-A508-4B64-981D-DA191D2B4917}" type="sib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851D966-4FFE-4248-A9C1-6453E25ADC83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UPC Modelos Riesgos</a:t>
          </a:r>
        </a:p>
      </dgm:t>
    </dgm:pt>
    <dgm:pt modelId="{5E16AFD8-F9BA-4FD1-A09E-BF3EB0578E8E}" type="par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299E59F-7CA7-4FC3-AA01-D1FBB0859174}" type="sib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86C129E-19BA-42F5-AD85-4C9625721C2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Presentación o Video</a:t>
          </a:r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C87F9F4-5C07-4BCA-92AB-A2A5B4F9543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ibertec Modelo Riesgos</a:t>
          </a:r>
        </a:p>
      </dgm:t>
    </dgm:pt>
    <dgm:pt modelId="{C90170B8-5182-4F3F-A080-9441DEDFD996}" type="par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EBC2197-080B-4783-816B-CDB3942CA110}" type="sib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E316323-377A-46B8-A4D4-E479C1061327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oporte</a:t>
          </a:r>
        </a:p>
      </dgm:t>
    </dgm:pt>
    <dgm:pt modelId="{5C5C39FD-74EE-486F-890E-28A1DAAF0B24}" type="par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C408D-DF0A-4D67-9B15-5D6A7CD7F7C3}" type="sib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852CB3-B9A0-47C4-B2D3-60883BCA1CA1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Propuesta nueva (que no encuentran)</a:t>
          </a:r>
        </a:p>
      </dgm:t>
    </dgm:pt>
    <dgm:pt modelId="{EDBB7800-6DDB-4558-8FC8-C0BBF127EE1E}" type="par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165C50-7E86-4743-8D75-7CCB095E30B2}" type="sib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60B8BA3-9BEE-40EC-9021-F57BFDFD9DE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Nuevos reportes</a:t>
          </a:r>
        </a:p>
      </dgm:t>
    </dgm:pt>
    <dgm:pt modelId="{9DF11160-0D78-4317-8393-A4EB775A8F07}" type="par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772E835-DAF3-4BE6-BFB5-21B108368A1E}" type="sib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B3F148-D3AB-4DE9-8484-36EFA907849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Encuesta satisfacción</a:t>
          </a:r>
        </a:p>
      </dgm:t>
    </dgm:pt>
    <dgm:pt modelId="{CD72EACC-C299-4AEC-8B2F-673F67F78823}" type="par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8EC97FF-47A0-4996-A0CE-CE0686EDB039}" type="sib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5EC8EC5-E027-4459-81C0-DE7CCE6DEEA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aterial grabado</a:t>
          </a:r>
        </a:p>
      </dgm:t>
    </dgm:pt>
    <dgm:pt modelId="{37BC18F4-84E6-4167-B9D4-7304DBED905A}" type="par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2572AD4-9071-4727-9D55-DFB358A543CC}" type="sib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1144811-3E6A-4B10-9D28-C2C94578B690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sarrollo</a:t>
          </a:r>
        </a:p>
      </dgm:t>
    </dgm:pt>
    <dgm:pt modelId="{167D2452-361D-4D97-84E5-9F38CACAD73B}" type="par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A2F5A53-F115-4B26-96B4-1C6FDDD0F286}" type="sib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C83024F-E411-41CF-A34F-1FB2BF6DFAE8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Boletín y reportes</a:t>
          </a:r>
        </a:p>
      </dgm:t>
    </dgm:pt>
    <dgm:pt modelId="{0025AB7E-6F71-4447-BF43-E8DD33C2E76D}" type="par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60FD9605-9E1F-4EA8-B9D8-9C8F79B263C1}" type="sib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799AD75-C80E-4271-93C2-34DA1D23ED4F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Video comercial y notas </a:t>
          </a:r>
        </a:p>
      </dgm:t>
    </dgm:pt>
    <dgm:pt modelId="{1D2A9084-604E-43CF-A4CF-72DC21EA2934}" type="par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1E0072C-1879-43C0-90AD-12BCFEA3EB33}" type="sib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4A5E8B2-6FE7-4443-B27B-C5216D0E330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3D</a:t>
          </a:r>
        </a:p>
      </dgm:t>
    </dgm:pt>
    <dgm:pt modelId="{D6212ED3-FE7B-42BF-B63D-EF40702AC8A8}" type="par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D427D6D-9E2A-4FE7-85F7-EED83BBF7FC5}" type="sib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94E61-4084-44A1-AABA-9A689F685C6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Nuevos Requerimientos</a:t>
          </a:r>
        </a:p>
      </dgm:t>
    </dgm:pt>
    <dgm:pt modelId="{BD87D6B6-04C8-4739-AD36-76EAB8C1A15E}" type="parTrans" cxnId="{86D38FB3-7DDC-4070-8E9E-C31BEBECB6C8}">
      <dgm:prSet/>
      <dgm:spPr/>
      <dgm:t>
        <a:bodyPr/>
        <a:lstStyle/>
        <a:p>
          <a:endParaRPr lang="es-PE"/>
        </a:p>
      </dgm:t>
    </dgm:pt>
    <dgm:pt modelId="{CC16C7ED-2927-4E54-B009-DCFCA86ABBF0}" type="sibTrans" cxnId="{86D38FB3-7DDC-4070-8E9E-C31BEBECB6C8}">
      <dgm:prSet/>
      <dgm:spPr/>
      <dgm:t>
        <a:bodyPr/>
        <a:lstStyle/>
        <a:p>
          <a:endParaRPr lang="es-PE"/>
        </a:p>
      </dgm:t>
    </dgm:pt>
    <dgm:pt modelId="{4D814DF2-BCE6-42B9-8E30-C90BF63D7291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cen la Base</a:t>
          </a:r>
        </a:p>
      </dgm:t>
    </dgm:pt>
    <dgm:pt modelId="{B0B52E20-56C1-4690-B7DA-AB16DAD0AAF4}" type="parTrans" cxnId="{6BEF8E37-3EF0-4147-A9B8-B653CCDF31A8}">
      <dgm:prSet/>
      <dgm:spPr/>
      <dgm:t>
        <a:bodyPr/>
        <a:lstStyle/>
        <a:p>
          <a:endParaRPr lang="es-PE"/>
        </a:p>
      </dgm:t>
    </dgm:pt>
    <dgm:pt modelId="{78B04E93-BBBC-43A8-A1A7-22DB77DA7688}" type="sibTrans" cxnId="{6BEF8E37-3EF0-4147-A9B8-B653CCDF31A8}">
      <dgm:prSet/>
      <dgm:spPr/>
      <dgm:t>
        <a:bodyPr/>
        <a:lstStyle/>
        <a:p>
          <a:endParaRPr lang="es-PE"/>
        </a:p>
      </dgm:t>
    </dgm:pt>
    <dgm:pt modelId="{4A0744C2-C0D9-423F-A68C-29A17515C566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etodología de recojo de datos en campo</a:t>
          </a:r>
        </a:p>
      </dgm:t>
    </dgm:pt>
    <dgm:pt modelId="{9979E49E-4D85-4291-8CCC-E84E6D906113}" type="parTrans" cxnId="{D19C2740-F297-4D07-8D35-18DE9385BE2F}">
      <dgm:prSet/>
      <dgm:spPr/>
      <dgm:t>
        <a:bodyPr/>
        <a:lstStyle/>
        <a:p>
          <a:endParaRPr lang="es-PE"/>
        </a:p>
      </dgm:t>
    </dgm:pt>
    <dgm:pt modelId="{81392C7C-2EF4-4465-90CB-57675D93DBA0}" type="sibTrans" cxnId="{D19C2740-F297-4D07-8D35-18DE9385BE2F}">
      <dgm:prSet/>
      <dgm:spPr/>
      <dgm:t>
        <a:bodyPr/>
        <a:lstStyle/>
        <a:p>
          <a:endParaRPr lang="es-PE"/>
        </a:p>
      </dgm:t>
    </dgm:pt>
    <dgm:pt modelId="{91582BEC-DE5A-4662-8627-FAC9CA581172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cen los reportes</a:t>
          </a:r>
        </a:p>
      </dgm:t>
    </dgm:pt>
    <dgm:pt modelId="{342E5849-ABA7-49EC-8025-935DA4F75F7A}" type="parTrans" cxnId="{8E49B4B1-FC63-49B8-BAD7-A60077C98AE8}">
      <dgm:prSet/>
      <dgm:spPr/>
      <dgm:t>
        <a:bodyPr/>
        <a:lstStyle/>
        <a:p>
          <a:endParaRPr lang="es-PE"/>
        </a:p>
      </dgm:t>
    </dgm:pt>
    <dgm:pt modelId="{F3E377B6-06D6-4DF9-99E8-B594BBDC001C}" type="sibTrans" cxnId="{8E49B4B1-FC63-49B8-BAD7-A60077C98AE8}">
      <dgm:prSet/>
      <dgm:spPr/>
      <dgm:t>
        <a:bodyPr/>
        <a:lstStyle/>
        <a:p>
          <a:endParaRPr lang="es-PE"/>
        </a:p>
      </dgm:t>
    </dgm:pt>
    <dgm:pt modelId="{EB03EB6B-9574-4EA5-A153-18382C1F2F1E}" type="pres">
      <dgm:prSet presAssocID="{7C456F81-39E8-4A49-BB92-6D9710B9C081}" presName="Name0" presStyleCnt="0">
        <dgm:presLayoutVars>
          <dgm:dir/>
          <dgm:animLvl val="lvl"/>
          <dgm:resizeHandles val="exact"/>
        </dgm:presLayoutVars>
      </dgm:prSet>
      <dgm:spPr/>
    </dgm:pt>
    <dgm:pt modelId="{D3C3096E-56A6-4096-8CE1-7234C99FF698}" type="pres">
      <dgm:prSet presAssocID="{ECF94E61-4084-44A1-AABA-9A689F685C6C}" presName="boxAndChildren" presStyleCnt="0"/>
      <dgm:spPr/>
    </dgm:pt>
    <dgm:pt modelId="{23E25BBB-CAA1-4613-9B0A-8E7313855BC1}" type="pres">
      <dgm:prSet presAssocID="{ECF94E61-4084-44A1-AABA-9A689F685C6C}" presName="parentTextBox" presStyleLbl="node1" presStyleIdx="0" presStyleCnt="5"/>
      <dgm:spPr/>
    </dgm:pt>
    <dgm:pt modelId="{9D4D0629-8307-48D1-983E-19A89023459E}" type="pres">
      <dgm:prSet presAssocID="{ECF94E61-4084-44A1-AABA-9A689F685C6C}" presName="entireBox" presStyleLbl="node1" presStyleIdx="0" presStyleCnt="5"/>
      <dgm:spPr/>
    </dgm:pt>
    <dgm:pt modelId="{0FD9A014-015D-443C-9B54-A3662BF4A3B5}" type="pres">
      <dgm:prSet presAssocID="{ECF94E61-4084-44A1-AABA-9A689F685C6C}" presName="descendantBox" presStyleCnt="0"/>
      <dgm:spPr/>
    </dgm:pt>
    <dgm:pt modelId="{DEBFAFF2-398E-4993-B947-F97E616F6405}" type="pres">
      <dgm:prSet presAssocID="{4D814DF2-BCE6-42B9-8E30-C90BF63D7291}" presName="childTextBox" presStyleLbl="fgAccFollowNode1" presStyleIdx="0" presStyleCnt="15">
        <dgm:presLayoutVars>
          <dgm:bulletEnabled val="1"/>
        </dgm:presLayoutVars>
      </dgm:prSet>
      <dgm:spPr/>
    </dgm:pt>
    <dgm:pt modelId="{635FF771-35C9-4403-A55A-FB31CB316DC3}" type="pres">
      <dgm:prSet presAssocID="{4A0744C2-C0D9-423F-A68C-29A17515C566}" presName="childTextBox" presStyleLbl="fgAccFollowNode1" presStyleIdx="1" presStyleCnt="15">
        <dgm:presLayoutVars>
          <dgm:bulletEnabled val="1"/>
        </dgm:presLayoutVars>
      </dgm:prSet>
      <dgm:spPr/>
    </dgm:pt>
    <dgm:pt modelId="{E20A101E-7118-4273-9932-D019582BC7E5}" type="pres">
      <dgm:prSet presAssocID="{91582BEC-DE5A-4662-8627-FAC9CA581172}" presName="childTextBox" presStyleLbl="fgAccFollowNode1" presStyleIdx="2" presStyleCnt="15">
        <dgm:presLayoutVars>
          <dgm:bulletEnabled val="1"/>
        </dgm:presLayoutVars>
      </dgm:prSet>
      <dgm:spPr/>
    </dgm:pt>
    <dgm:pt modelId="{A356B024-FED8-4F6C-A805-E4746E502B39}" type="pres">
      <dgm:prSet presAssocID="{ECFC408D-DF0A-4D67-9B15-5D6A7CD7F7C3}" presName="sp" presStyleCnt="0"/>
      <dgm:spPr/>
    </dgm:pt>
    <dgm:pt modelId="{E6D9A1BE-4E9C-4AAE-8D50-2B9A3A1DCC7F}" type="pres">
      <dgm:prSet presAssocID="{5E316323-377A-46B8-A4D4-E479C1061327}" presName="arrowAndChildren" presStyleCnt="0"/>
      <dgm:spPr/>
    </dgm:pt>
    <dgm:pt modelId="{5BEA4B0D-108A-402E-9342-32517FE70D18}" type="pres">
      <dgm:prSet presAssocID="{5E316323-377A-46B8-A4D4-E479C1061327}" presName="parentTextArrow" presStyleLbl="node1" presStyleIdx="0" presStyleCnt="5"/>
      <dgm:spPr/>
    </dgm:pt>
    <dgm:pt modelId="{AC2EE8B0-E87E-42A7-A10A-8C5F3FD4783F}" type="pres">
      <dgm:prSet presAssocID="{5E316323-377A-46B8-A4D4-E479C1061327}" presName="arrow" presStyleLbl="node1" presStyleIdx="1" presStyleCnt="5"/>
      <dgm:spPr/>
    </dgm:pt>
    <dgm:pt modelId="{8E35B08F-7893-43A6-ABE4-FC2EB7D14808}" type="pres">
      <dgm:prSet presAssocID="{5E316323-377A-46B8-A4D4-E479C1061327}" presName="descendantArrow" presStyleCnt="0"/>
      <dgm:spPr/>
    </dgm:pt>
    <dgm:pt modelId="{007CFC69-67D0-405F-A6F8-03FBB5EBCBD4}" type="pres">
      <dgm:prSet presAssocID="{360B8BA3-9BEE-40EC-9021-F57BFDFD9DE8}" presName="childTextArrow" presStyleLbl="fgAccFollowNode1" presStyleIdx="3" presStyleCnt="15">
        <dgm:presLayoutVars>
          <dgm:bulletEnabled val="1"/>
        </dgm:presLayoutVars>
      </dgm:prSet>
      <dgm:spPr/>
    </dgm:pt>
    <dgm:pt modelId="{D5A9615E-6D64-42C7-A7F4-7B2D96EEBF35}" type="pres">
      <dgm:prSet presAssocID="{01144811-3E6A-4B10-9D28-C2C94578B690}" presName="childTextArrow" presStyleLbl="fgAccFollowNode1" presStyleIdx="4" presStyleCnt="15">
        <dgm:presLayoutVars>
          <dgm:bulletEnabled val="1"/>
        </dgm:presLayoutVars>
      </dgm:prSet>
      <dgm:spPr/>
    </dgm:pt>
    <dgm:pt modelId="{2CE9A198-0D82-4501-923D-1C7A3202EBC9}" type="pres">
      <dgm:prSet presAssocID="{C4A5E8B2-6FE7-4443-B27B-C5216D0E330C}" presName="childTextArrow" presStyleLbl="fgAccFollowNode1" presStyleIdx="5" presStyleCnt="15">
        <dgm:presLayoutVars>
          <dgm:bulletEnabled val="1"/>
        </dgm:presLayoutVars>
      </dgm:prSet>
      <dgm:spPr/>
    </dgm:pt>
    <dgm:pt modelId="{3B5B80E6-D439-44F0-A337-A96C8DB6A6E1}" type="pres">
      <dgm:prSet presAssocID="{9EBC2197-080B-4783-816B-CDB3942CA110}" presName="sp" presStyleCnt="0"/>
      <dgm:spPr/>
    </dgm:pt>
    <dgm:pt modelId="{3FCA7FD0-DDE1-405C-9141-CFA4BEE19740}" type="pres">
      <dgm:prSet presAssocID="{8C87F9F4-5C07-4BCA-92AB-A2A5B4F95435}" presName="arrowAndChildren" presStyleCnt="0"/>
      <dgm:spPr/>
    </dgm:pt>
    <dgm:pt modelId="{88E62E39-32A8-419B-AE60-E8065A6CD1E2}" type="pres">
      <dgm:prSet presAssocID="{8C87F9F4-5C07-4BCA-92AB-A2A5B4F95435}" presName="parentTextArrow" presStyleLbl="node1" presStyleIdx="1" presStyleCnt="5"/>
      <dgm:spPr/>
    </dgm:pt>
    <dgm:pt modelId="{95AD91AD-CB62-4BD8-94F0-DFCC20ABD171}" type="pres">
      <dgm:prSet presAssocID="{8C87F9F4-5C07-4BCA-92AB-A2A5B4F95435}" presName="arrow" presStyleLbl="node1" presStyleIdx="2" presStyleCnt="5"/>
      <dgm:spPr/>
    </dgm:pt>
    <dgm:pt modelId="{49659649-2EF7-4586-A95B-58970F77117F}" type="pres">
      <dgm:prSet presAssocID="{8C87F9F4-5C07-4BCA-92AB-A2A5B4F95435}" presName="descendantArrow" presStyleCnt="0"/>
      <dgm:spPr/>
    </dgm:pt>
    <dgm:pt modelId="{9D8D2D06-5FB4-42DA-988C-D4400F8A15D7}" type="pres">
      <dgm:prSet presAssocID="{3E852CB3-B9A0-47C4-B2D3-60883BCA1CA1}" presName="childTextArrow" presStyleLbl="fgAccFollowNode1" presStyleIdx="6" presStyleCnt="15">
        <dgm:presLayoutVars>
          <dgm:bulletEnabled val="1"/>
        </dgm:presLayoutVars>
      </dgm:prSet>
      <dgm:spPr/>
    </dgm:pt>
    <dgm:pt modelId="{757C85E8-B454-49CD-8F22-D3E9EB042994}" type="pres">
      <dgm:prSet presAssocID="{1C83024F-E411-41CF-A34F-1FB2BF6DFAE8}" presName="childTextArrow" presStyleLbl="fgAccFollowNode1" presStyleIdx="7" presStyleCnt="15">
        <dgm:presLayoutVars>
          <dgm:bulletEnabled val="1"/>
        </dgm:presLayoutVars>
      </dgm:prSet>
      <dgm:spPr/>
    </dgm:pt>
    <dgm:pt modelId="{49A26938-D933-49A6-8EA8-CC39758147BA}" type="pres">
      <dgm:prSet presAssocID="{8799AD75-C80E-4271-93C2-34DA1D23ED4F}" presName="childTextArrow" presStyleLbl="fgAccFollowNode1" presStyleIdx="8" presStyleCnt="15">
        <dgm:presLayoutVars>
          <dgm:bulletEnabled val="1"/>
        </dgm:presLayoutVars>
      </dgm:prSet>
      <dgm:spPr/>
    </dgm:pt>
    <dgm:pt modelId="{5C7A3FD8-99A0-40CE-B189-AE89EE7F92DA}" type="pres">
      <dgm:prSet presAssocID="{F299E59F-7CA7-4FC3-AA01-D1FBB0859174}" presName="sp" presStyleCnt="0"/>
      <dgm:spPr/>
    </dgm:pt>
    <dgm:pt modelId="{9105E249-8148-470D-9574-1C494EBCD5E3}" type="pres">
      <dgm:prSet presAssocID="{D851D966-4FFE-4248-A9C1-6453E25ADC83}" presName="arrowAndChildren" presStyleCnt="0"/>
      <dgm:spPr/>
    </dgm:pt>
    <dgm:pt modelId="{354D8C0C-0917-4BA0-8481-476F3B64DDF6}" type="pres">
      <dgm:prSet presAssocID="{D851D966-4FFE-4248-A9C1-6453E25ADC83}" presName="parentTextArrow" presStyleLbl="node1" presStyleIdx="2" presStyleCnt="5"/>
      <dgm:spPr/>
    </dgm:pt>
    <dgm:pt modelId="{DE4459A0-95C5-4725-9F03-9A0AD2F9926A}" type="pres">
      <dgm:prSet presAssocID="{D851D966-4FFE-4248-A9C1-6453E25ADC83}" presName="arrow" presStyleLbl="node1" presStyleIdx="3" presStyleCnt="5"/>
      <dgm:spPr/>
    </dgm:pt>
    <dgm:pt modelId="{A5543260-F659-408F-9B54-DC9A6C06DF1F}" type="pres">
      <dgm:prSet presAssocID="{D851D966-4FFE-4248-A9C1-6453E25ADC83}" presName="descendantArrow" presStyleCnt="0"/>
      <dgm:spPr/>
    </dgm:pt>
    <dgm:pt modelId="{B6AD687A-D1FE-4304-8D99-21A7AA53D287}" type="pres">
      <dgm:prSet presAssocID="{0929002E-3CFB-46F1-9DED-701E6BDDBBE5}" presName="childTextArrow" presStyleLbl="fgAccFollowNode1" presStyleIdx="9" presStyleCnt="15">
        <dgm:presLayoutVars>
          <dgm:bulletEnabled val="1"/>
        </dgm:presLayoutVars>
      </dgm:prSet>
      <dgm:spPr/>
    </dgm:pt>
    <dgm:pt modelId="{62EB7941-A74D-4F18-8DE5-485D8A2C4F3A}" type="pres">
      <dgm:prSet presAssocID="{A0D1D621-DA49-4B24-9D22-997E3493B32D}" presName="childTextArrow" presStyleLbl="fgAccFollowNode1" presStyleIdx="10" presStyleCnt="15">
        <dgm:presLayoutVars>
          <dgm:bulletEnabled val="1"/>
        </dgm:presLayoutVars>
      </dgm:prSet>
      <dgm:spPr/>
    </dgm:pt>
    <dgm:pt modelId="{CEB0F7B0-2A19-4F09-BDC3-8C3B0ACA1B28}" type="pres">
      <dgm:prSet presAssocID="{33918B2B-A56B-49E5-A99E-FB8B8DD62018}" presName="childTextArrow" presStyleLbl="fgAccFollowNode1" presStyleIdx="11" presStyleCnt="15">
        <dgm:presLayoutVars>
          <dgm:bulletEnabled val="1"/>
        </dgm:presLayoutVars>
      </dgm:prSet>
      <dgm:spPr/>
    </dgm:pt>
    <dgm:pt modelId="{1713176F-A260-4F41-BE91-6CED18B891A8}" type="pres">
      <dgm:prSet presAssocID="{EC5EB5C7-F1A2-4FE5-A33B-B7B5FE53412C}" presName="sp" presStyleCnt="0"/>
      <dgm:spPr/>
    </dgm:pt>
    <dgm:pt modelId="{4B80C2B2-1C45-4E43-B99D-7E755D5F1010}" type="pres">
      <dgm:prSet presAssocID="{E4B4F9F4-D240-4EF9-8A3E-0060574F32FE}" presName="arrowAndChildren" presStyleCnt="0"/>
      <dgm:spPr/>
    </dgm:pt>
    <dgm:pt modelId="{7187319B-27A8-4119-9C65-A9B885720148}" type="pres">
      <dgm:prSet presAssocID="{E4B4F9F4-D240-4EF9-8A3E-0060574F32FE}" presName="parentTextArrow" presStyleLbl="node1" presStyleIdx="3" presStyleCnt="5"/>
      <dgm:spPr/>
    </dgm:pt>
    <dgm:pt modelId="{F88137AA-2751-494D-A2CA-74235065E832}" type="pres">
      <dgm:prSet presAssocID="{E4B4F9F4-D240-4EF9-8A3E-0060574F32FE}" presName="arrow" presStyleLbl="node1" presStyleIdx="4" presStyleCnt="5"/>
      <dgm:spPr/>
    </dgm:pt>
    <dgm:pt modelId="{17FADE8B-944B-4353-9345-07596CE7FC8F}" type="pres">
      <dgm:prSet presAssocID="{E4B4F9F4-D240-4EF9-8A3E-0060574F32FE}" presName="descendantArrow" presStyleCnt="0"/>
      <dgm:spPr/>
    </dgm:pt>
    <dgm:pt modelId="{0EDD97D6-9FCF-4BD4-9B78-0101DA09CB2A}" type="pres">
      <dgm:prSet presAssocID="{486C129E-19BA-42F5-AD85-4C9625721C2E}" presName="childTextArrow" presStyleLbl="fgAccFollowNode1" presStyleIdx="12" presStyleCnt="15">
        <dgm:presLayoutVars>
          <dgm:bulletEnabled val="1"/>
        </dgm:presLayoutVars>
      </dgm:prSet>
      <dgm:spPr/>
    </dgm:pt>
    <dgm:pt modelId="{5B48657E-BE30-4828-B247-6BF8C67A5417}" type="pres">
      <dgm:prSet presAssocID="{C0B3F148-D3AB-4DE9-8484-36EFA907849C}" presName="childTextArrow" presStyleLbl="fgAccFollowNode1" presStyleIdx="13" presStyleCnt="15">
        <dgm:presLayoutVars>
          <dgm:bulletEnabled val="1"/>
        </dgm:presLayoutVars>
      </dgm:prSet>
      <dgm:spPr/>
    </dgm:pt>
    <dgm:pt modelId="{775BC43A-FF86-4AE6-A97D-A464BAB13759}" type="pres">
      <dgm:prSet presAssocID="{F5EC8EC5-E027-4459-81C0-DE7CCE6DEEA5}" presName="childTextArrow" presStyleLbl="fgAccFollowNode1" presStyleIdx="14" presStyleCnt="15">
        <dgm:presLayoutVars>
          <dgm:bulletEnabled val="1"/>
        </dgm:presLayoutVars>
      </dgm:prSet>
      <dgm:spPr/>
    </dgm:pt>
  </dgm:ptLst>
  <dgm:cxnLst>
    <dgm:cxn modelId="{FC2A9C01-34C1-4FF4-AE6A-7A519836BAF6}" type="presOf" srcId="{A0D1D621-DA49-4B24-9D22-997E3493B32D}" destId="{62EB7941-A74D-4F18-8DE5-485D8A2C4F3A}" srcOrd="0" destOrd="0" presId="urn:microsoft.com/office/officeart/2005/8/layout/process4"/>
    <dgm:cxn modelId="{7E4CBA0E-DB61-48A6-906D-7BC1BB344639}" type="presOf" srcId="{E4B4F9F4-D240-4EF9-8A3E-0060574F32FE}" destId="{7187319B-27A8-4119-9C65-A9B885720148}" srcOrd="0" destOrd="0" presId="urn:microsoft.com/office/officeart/2005/8/layout/process4"/>
    <dgm:cxn modelId="{E9B8BA10-FC82-4C8E-8BE9-C2E69019A018}" srcId="{8C87F9F4-5C07-4BCA-92AB-A2A5B4F95435}" destId="{8799AD75-C80E-4271-93C2-34DA1D23ED4F}" srcOrd="2" destOrd="0" parTransId="{1D2A9084-604E-43CF-A4CF-72DC21EA2934}" sibTransId="{71E0072C-1879-43C0-90AD-12BCFEA3EB33}"/>
    <dgm:cxn modelId="{4E220113-5239-4BED-A92B-48EDBE16FA47}" type="presOf" srcId="{0929002E-3CFB-46F1-9DED-701E6BDDBBE5}" destId="{B6AD687A-D1FE-4304-8D99-21A7AA53D287}" srcOrd="0" destOrd="0" presId="urn:microsoft.com/office/officeart/2005/8/layout/process4"/>
    <dgm:cxn modelId="{BDBF4014-9DB3-4E4E-B72A-454B7E2B3097}" srcId="{7C456F81-39E8-4A49-BB92-6D9710B9C081}" destId="{D851D966-4FFE-4248-A9C1-6453E25ADC83}" srcOrd="1" destOrd="0" parTransId="{5E16AFD8-F9BA-4FD1-A09E-BF3EB0578E8E}" sibTransId="{F299E59F-7CA7-4FC3-AA01-D1FBB0859174}"/>
    <dgm:cxn modelId="{C5946918-E62E-4BD7-9743-80867A6A281E}" srcId="{7C456F81-39E8-4A49-BB92-6D9710B9C081}" destId="{8C87F9F4-5C07-4BCA-92AB-A2A5B4F95435}" srcOrd="2" destOrd="0" parTransId="{C90170B8-5182-4F3F-A080-9441DEDFD996}" sibTransId="{9EBC2197-080B-4783-816B-CDB3942CA110}"/>
    <dgm:cxn modelId="{1097FE20-EBA6-42F7-8CAD-E6201E37F456}" type="presOf" srcId="{360B8BA3-9BEE-40EC-9021-F57BFDFD9DE8}" destId="{007CFC69-67D0-405F-A6F8-03FBB5EBCBD4}" srcOrd="0" destOrd="0" presId="urn:microsoft.com/office/officeart/2005/8/layout/process4"/>
    <dgm:cxn modelId="{212D2521-FA9B-4E5B-B7C1-3B6A831A5B9F}" type="presOf" srcId="{8799AD75-C80E-4271-93C2-34DA1D23ED4F}" destId="{49A26938-D933-49A6-8EA8-CC39758147BA}" srcOrd="0" destOrd="0" presId="urn:microsoft.com/office/officeart/2005/8/layout/process4"/>
    <dgm:cxn modelId="{DFDECE35-D23E-4022-94E6-4E074FD1D7A6}" type="presOf" srcId="{E4B4F9F4-D240-4EF9-8A3E-0060574F32FE}" destId="{F88137AA-2751-494D-A2CA-74235065E832}" srcOrd="1" destOrd="0" presId="urn:microsoft.com/office/officeart/2005/8/layout/process4"/>
    <dgm:cxn modelId="{6BEF8E37-3EF0-4147-A9B8-B653CCDF31A8}" srcId="{ECF94E61-4084-44A1-AABA-9A689F685C6C}" destId="{4D814DF2-BCE6-42B9-8E30-C90BF63D7291}" srcOrd="0" destOrd="0" parTransId="{B0B52E20-56C1-4690-B7DA-AB16DAD0AAF4}" sibTransId="{78B04E93-BBBC-43A8-A1A7-22DB77DA7688}"/>
    <dgm:cxn modelId="{1516893E-4C1A-4671-9A6B-E0A43CF2FFB3}" type="presOf" srcId="{C0B3F148-D3AB-4DE9-8484-36EFA907849C}" destId="{5B48657E-BE30-4828-B247-6BF8C67A5417}" srcOrd="0" destOrd="0" presId="urn:microsoft.com/office/officeart/2005/8/layout/process4"/>
    <dgm:cxn modelId="{D19C2740-F297-4D07-8D35-18DE9385BE2F}" srcId="{ECF94E61-4084-44A1-AABA-9A689F685C6C}" destId="{4A0744C2-C0D9-423F-A68C-29A17515C566}" srcOrd="1" destOrd="0" parTransId="{9979E49E-4D85-4291-8CCC-E84E6D906113}" sibTransId="{81392C7C-2EF4-4465-90CB-57675D93DBA0}"/>
    <dgm:cxn modelId="{E586525D-DE5C-47F7-8AA3-BD50CF247832}" type="presOf" srcId="{D851D966-4FFE-4248-A9C1-6453E25ADC83}" destId="{DE4459A0-95C5-4725-9F03-9A0AD2F9926A}" srcOrd="1" destOrd="0" presId="urn:microsoft.com/office/officeart/2005/8/layout/process4"/>
    <dgm:cxn modelId="{9E9AA05F-1AE7-427C-9081-FB058A3450EF}" srcId="{D851D966-4FFE-4248-A9C1-6453E25ADC83}" destId="{0929002E-3CFB-46F1-9DED-701E6BDDBBE5}" srcOrd="0" destOrd="0" parTransId="{AD8E2242-6023-4FA1-A34B-BE65322F502E}" sibTransId="{0D4F85F6-A19F-4209-A6A7-43F65AB97D31}"/>
    <dgm:cxn modelId="{DEDDF041-E200-4C34-833F-58439D2B837F}" srcId="{E4B4F9F4-D240-4EF9-8A3E-0060574F32FE}" destId="{C0B3F148-D3AB-4DE9-8484-36EFA907849C}" srcOrd="1" destOrd="0" parTransId="{CD72EACC-C299-4AEC-8B2F-673F67F78823}" sibTransId="{98EC97FF-47A0-4996-A0CE-CE0686EDB039}"/>
    <dgm:cxn modelId="{FCAB3B63-22BF-45CB-B62D-8A3B39670C16}" type="presOf" srcId="{F5EC8EC5-E027-4459-81C0-DE7CCE6DEEA5}" destId="{775BC43A-FF86-4AE6-A97D-A464BAB13759}" srcOrd="0" destOrd="0" presId="urn:microsoft.com/office/officeart/2005/8/layout/process4"/>
    <dgm:cxn modelId="{0546C747-6BC3-40AF-B2A3-D7C83A0FBE80}" srcId="{D851D966-4FFE-4248-A9C1-6453E25ADC83}" destId="{33918B2B-A56B-49E5-A99E-FB8B8DD62018}" srcOrd="2" destOrd="0" parTransId="{771A4284-DC55-4997-B76F-6C9FAAC618D2}" sibTransId="{14DCBC2E-A508-4B64-981D-DA191D2B4917}"/>
    <dgm:cxn modelId="{78FC3068-D7B3-4DF8-91A7-F6C25B061CD9}" type="presOf" srcId="{4D814DF2-BCE6-42B9-8E30-C90BF63D7291}" destId="{DEBFAFF2-398E-4993-B947-F97E616F6405}" srcOrd="0" destOrd="0" presId="urn:microsoft.com/office/officeart/2005/8/layout/process4"/>
    <dgm:cxn modelId="{A1842479-5E5E-4FEC-9CE8-45D902445E7B}" type="presOf" srcId="{ECF94E61-4084-44A1-AABA-9A689F685C6C}" destId="{23E25BBB-CAA1-4613-9B0A-8E7313855BC1}" srcOrd="0" destOrd="0" presId="urn:microsoft.com/office/officeart/2005/8/layout/process4"/>
    <dgm:cxn modelId="{29705159-E322-4084-B2CE-64B35F5EFA1B}" type="presOf" srcId="{33918B2B-A56B-49E5-A99E-FB8B8DD62018}" destId="{CEB0F7B0-2A19-4F09-BDC3-8C3B0ACA1B28}" srcOrd="0" destOrd="0" presId="urn:microsoft.com/office/officeart/2005/8/layout/process4"/>
    <dgm:cxn modelId="{24AAB383-71A1-453A-B304-4CDC76916177}" type="presOf" srcId="{C4A5E8B2-6FE7-4443-B27B-C5216D0E330C}" destId="{2CE9A198-0D82-4501-923D-1C7A3202EBC9}" srcOrd="0" destOrd="0" presId="urn:microsoft.com/office/officeart/2005/8/layout/process4"/>
    <dgm:cxn modelId="{28AE7A87-3A68-4006-9467-1365C0060C13}" type="presOf" srcId="{7C456F81-39E8-4A49-BB92-6D9710B9C081}" destId="{EB03EB6B-9574-4EA5-A153-18382C1F2F1E}" srcOrd="0" destOrd="0" presId="urn:microsoft.com/office/officeart/2005/8/layout/process4"/>
    <dgm:cxn modelId="{72B5BD94-EFB1-4D31-89FD-3BF9531C23C0}" type="presOf" srcId="{ECF94E61-4084-44A1-AABA-9A689F685C6C}" destId="{9D4D0629-8307-48D1-983E-19A89023459E}" srcOrd="1" destOrd="0" presId="urn:microsoft.com/office/officeart/2005/8/layout/process4"/>
    <dgm:cxn modelId="{E0A86395-4C33-4F42-943C-52804CBA0CF6}" srcId="{8C87F9F4-5C07-4BCA-92AB-A2A5B4F95435}" destId="{1C83024F-E411-41CF-A34F-1FB2BF6DFAE8}" srcOrd="1" destOrd="0" parTransId="{0025AB7E-6F71-4447-BF43-E8DD33C2E76D}" sibTransId="{60FD9605-9E1F-4EA8-B9D8-9C8F79B263C1}"/>
    <dgm:cxn modelId="{E31B029B-72C3-4515-9800-7E4538032B54}" type="presOf" srcId="{91582BEC-DE5A-4662-8627-FAC9CA581172}" destId="{E20A101E-7118-4273-9932-D019582BC7E5}" srcOrd="0" destOrd="0" presId="urn:microsoft.com/office/officeart/2005/8/layout/process4"/>
    <dgm:cxn modelId="{1FFE229D-DDC7-4828-9C7A-BB0DDC279C76}" type="presOf" srcId="{4A0744C2-C0D9-423F-A68C-29A17515C566}" destId="{635FF771-35C9-4403-A55A-FB31CB316DC3}" srcOrd="0" destOrd="0" presId="urn:microsoft.com/office/officeart/2005/8/layout/process4"/>
    <dgm:cxn modelId="{199137A4-C638-42F4-8610-6B55209B4A2E}" type="presOf" srcId="{486C129E-19BA-42F5-AD85-4C9625721C2E}" destId="{0EDD97D6-9FCF-4BD4-9B78-0101DA09CB2A}" srcOrd="0" destOrd="0" presId="urn:microsoft.com/office/officeart/2005/8/layout/process4"/>
    <dgm:cxn modelId="{BF6CEEA7-B79C-49B6-BBCB-C2F35D55C285}" srcId="{8C87F9F4-5C07-4BCA-92AB-A2A5B4F95435}" destId="{3E852CB3-B9A0-47C4-B2D3-60883BCA1CA1}" srcOrd="0" destOrd="0" parTransId="{EDBB7800-6DDB-4558-8FC8-C0BBF127EE1E}" sibTransId="{3E165C50-7E86-4743-8D75-7CCB095E30B2}"/>
    <dgm:cxn modelId="{02553EAA-3EAA-4D05-86DE-21CD4335B209}" type="presOf" srcId="{5E316323-377A-46B8-A4D4-E479C1061327}" destId="{AC2EE8B0-E87E-42A7-A10A-8C5F3FD4783F}" srcOrd="1" destOrd="0" presId="urn:microsoft.com/office/officeart/2005/8/layout/process4"/>
    <dgm:cxn modelId="{AB049FAC-75AE-448B-8CF3-A0CA18C8F25D}" type="presOf" srcId="{D851D966-4FFE-4248-A9C1-6453E25ADC83}" destId="{354D8C0C-0917-4BA0-8481-476F3B64DDF6}" srcOrd="0" destOrd="0" presId="urn:microsoft.com/office/officeart/2005/8/layout/process4"/>
    <dgm:cxn modelId="{60B3C5AF-2852-4A52-B4FB-8A34543BEDDC}" type="presOf" srcId="{5E316323-377A-46B8-A4D4-E479C1061327}" destId="{5BEA4B0D-108A-402E-9342-32517FE70D18}" srcOrd="0" destOrd="0" presId="urn:microsoft.com/office/officeart/2005/8/layout/process4"/>
    <dgm:cxn modelId="{EF1894B1-786B-4C9F-8FA3-0BA98A71499E}" type="presOf" srcId="{01144811-3E6A-4B10-9D28-C2C94578B690}" destId="{D5A9615E-6D64-42C7-A7F4-7B2D96EEBF35}" srcOrd="0" destOrd="0" presId="urn:microsoft.com/office/officeart/2005/8/layout/process4"/>
    <dgm:cxn modelId="{8E49B4B1-FC63-49B8-BAD7-A60077C98AE8}" srcId="{ECF94E61-4084-44A1-AABA-9A689F685C6C}" destId="{91582BEC-DE5A-4662-8627-FAC9CA581172}" srcOrd="2" destOrd="0" parTransId="{342E5849-ABA7-49EC-8025-935DA4F75F7A}" sibTransId="{F3E377B6-06D6-4DF9-99E8-B594BBDC001C}"/>
    <dgm:cxn modelId="{86D38FB3-7DDC-4070-8E9E-C31BEBECB6C8}" srcId="{7C456F81-39E8-4A49-BB92-6D9710B9C081}" destId="{ECF94E61-4084-44A1-AABA-9A689F685C6C}" srcOrd="4" destOrd="0" parTransId="{BD87D6B6-04C8-4739-AD36-76EAB8C1A15E}" sibTransId="{CC16C7ED-2927-4E54-B009-DCFCA86ABBF0}"/>
    <dgm:cxn modelId="{BADC30B5-6E31-4F3A-AC0D-69D148CCD2ED}" srcId="{E4B4F9F4-D240-4EF9-8A3E-0060574F32FE}" destId="{F5EC8EC5-E027-4459-81C0-DE7CCE6DEEA5}" srcOrd="2" destOrd="0" parTransId="{37BC18F4-84E6-4167-B9D4-7304DBED905A}" sibTransId="{72572AD4-9071-4727-9D55-DFB358A543CC}"/>
    <dgm:cxn modelId="{F659BFB7-D9D5-4C7B-8DD5-EB42490C1C74}" srcId="{5E316323-377A-46B8-A4D4-E479C1061327}" destId="{360B8BA3-9BEE-40EC-9021-F57BFDFD9DE8}" srcOrd="0" destOrd="0" parTransId="{9DF11160-0D78-4317-8393-A4EB775A8F07}" sibTransId="{9772E835-DAF3-4BE6-BFB5-21B108368A1E}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18EB9DBE-20E5-486B-A18F-F91E0E8A8A40}" type="presOf" srcId="{1C83024F-E411-41CF-A34F-1FB2BF6DFAE8}" destId="{757C85E8-B454-49CD-8F22-D3E9EB042994}" srcOrd="0" destOrd="0" presId="urn:microsoft.com/office/officeart/2005/8/layout/process4"/>
    <dgm:cxn modelId="{EA01F1BE-F7A3-412C-9F55-B39BC855A8B3}" srcId="{7C456F81-39E8-4A49-BB92-6D9710B9C081}" destId="{E4B4F9F4-D240-4EF9-8A3E-0060574F32FE}" srcOrd="0" destOrd="0" parTransId="{686EE54E-2CC1-4ABF-B221-047AC1ECAA71}" sibTransId="{EC5EB5C7-F1A2-4FE5-A33B-B7B5FE53412C}"/>
    <dgm:cxn modelId="{ABA46FC7-1D6F-48CE-A4D1-E536C9AE4690}" srcId="{5E316323-377A-46B8-A4D4-E479C1061327}" destId="{C4A5E8B2-6FE7-4443-B27B-C5216D0E330C}" srcOrd="2" destOrd="0" parTransId="{D6212ED3-FE7B-42BF-B63D-EF40702AC8A8}" sibTransId="{DD427D6D-9E2A-4FE7-85F7-EED83BBF7FC5}"/>
    <dgm:cxn modelId="{592387CB-F863-4082-AC3B-5CE459961FC7}" srcId="{5E316323-377A-46B8-A4D4-E479C1061327}" destId="{01144811-3E6A-4B10-9D28-C2C94578B690}" srcOrd="1" destOrd="0" parTransId="{167D2452-361D-4D97-84E5-9F38CACAD73B}" sibTransId="{4A2F5A53-F115-4B26-96B4-1C6FDDD0F286}"/>
    <dgm:cxn modelId="{9DDC52D3-9ACB-4F74-A722-C7F34EA681A0}" type="presOf" srcId="{3E852CB3-B9A0-47C4-B2D3-60883BCA1CA1}" destId="{9D8D2D06-5FB4-42DA-988C-D4400F8A15D7}" srcOrd="0" destOrd="0" presId="urn:microsoft.com/office/officeart/2005/8/layout/process4"/>
    <dgm:cxn modelId="{0E4F96DE-D09C-4EC4-8B90-C4C5FAC82807}" srcId="{D851D966-4FFE-4248-A9C1-6453E25ADC83}" destId="{A0D1D621-DA49-4B24-9D22-997E3493B32D}" srcOrd="1" destOrd="0" parTransId="{E3ECB5E8-A935-4CFC-8698-EA5FF877B4E3}" sibTransId="{EAEA91CA-D5DB-4CEF-B363-98AB51DD8415}"/>
    <dgm:cxn modelId="{6D7E6CE3-76F7-4624-BC25-4A8AF12EFE03}" type="presOf" srcId="{8C87F9F4-5C07-4BCA-92AB-A2A5B4F95435}" destId="{88E62E39-32A8-419B-AE60-E8065A6CD1E2}" srcOrd="0" destOrd="0" presId="urn:microsoft.com/office/officeart/2005/8/layout/process4"/>
    <dgm:cxn modelId="{857FC2E7-6FBE-48E8-9032-BA22D22B616C}" type="presOf" srcId="{8C87F9F4-5C07-4BCA-92AB-A2A5B4F95435}" destId="{95AD91AD-CB62-4BD8-94F0-DFCC20ABD171}" srcOrd="1" destOrd="0" presId="urn:microsoft.com/office/officeart/2005/8/layout/process4"/>
    <dgm:cxn modelId="{E5B183FA-F359-4FF2-B8BF-35CAE6F71480}" srcId="{7C456F81-39E8-4A49-BB92-6D9710B9C081}" destId="{5E316323-377A-46B8-A4D4-E479C1061327}" srcOrd="3" destOrd="0" parTransId="{5C5C39FD-74EE-486F-890E-28A1DAAF0B24}" sibTransId="{ECFC408D-DF0A-4D67-9B15-5D6A7CD7F7C3}"/>
    <dgm:cxn modelId="{1426243D-5367-49B5-86BF-CBA8853BEFED}" type="presParOf" srcId="{EB03EB6B-9574-4EA5-A153-18382C1F2F1E}" destId="{D3C3096E-56A6-4096-8CE1-7234C99FF698}" srcOrd="0" destOrd="0" presId="urn:microsoft.com/office/officeart/2005/8/layout/process4"/>
    <dgm:cxn modelId="{61A0AC50-CB54-4612-93B8-010957206BF6}" type="presParOf" srcId="{D3C3096E-56A6-4096-8CE1-7234C99FF698}" destId="{23E25BBB-CAA1-4613-9B0A-8E7313855BC1}" srcOrd="0" destOrd="0" presId="urn:microsoft.com/office/officeart/2005/8/layout/process4"/>
    <dgm:cxn modelId="{F2DB6199-EEE5-4A67-A214-7FCB762C675A}" type="presParOf" srcId="{D3C3096E-56A6-4096-8CE1-7234C99FF698}" destId="{9D4D0629-8307-48D1-983E-19A89023459E}" srcOrd="1" destOrd="0" presId="urn:microsoft.com/office/officeart/2005/8/layout/process4"/>
    <dgm:cxn modelId="{18311A6E-A855-4364-97E1-5B6BEDBADB8D}" type="presParOf" srcId="{D3C3096E-56A6-4096-8CE1-7234C99FF698}" destId="{0FD9A014-015D-443C-9B54-A3662BF4A3B5}" srcOrd="2" destOrd="0" presId="urn:microsoft.com/office/officeart/2005/8/layout/process4"/>
    <dgm:cxn modelId="{B8B568A4-D73A-435B-A160-76BAEFC98167}" type="presParOf" srcId="{0FD9A014-015D-443C-9B54-A3662BF4A3B5}" destId="{DEBFAFF2-398E-4993-B947-F97E616F6405}" srcOrd="0" destOrd="0" presId="urn:microsoft.com/office/officeart/2005/8/layout/process4"/>
    <dgm:cxn modelId="{D605EF61-3E57-4FBC-85A4-3F6255330440}" type="presParOf" srcId="{0FD9A014-015D-443C-9B54-A3662BF4A3B5}" destId="{635FF771-35C9-4403-A55A-FB31CB316DC3}" srcOrd="1" destOrd="0" presId="urn:microsoft.com/office/officeart/2005/8/layout/process4"/>
    <dgm:cxn modelId="{84C9D22A-20B7-453D-9825-482E9704757F}" type="presParOf" srcId="{0FD9A014-015D-443C-9B54-A3662BF4A3B5}" destId="{E20A101E-7118-4273-9932-D019582BC7E5}" srcOrd="2" destOrd="0" presId="urn:microsoft.com/office/officeart/2005/8/layout/process4"/>
    <dgm:cxn modelId="{84F965F3-4D19-49DD-9D1A-072A49592275}" type="presParOf" srcId="{EB03EB6B-9574-4EA5-A153-18382C1F2F1E}" destId="{A356B024-FED8-4F6C-A805-E4746E502B39}" srcOrd="1" destOrd="0" presId="urn:microsoft.com/office/officeart/2005/8/layout/process4"/>
    <dgm:cxn modelId="{C407BA8A-B8F9-4DBC-AB51-B769A0215587}" type="presParOf" srcId="{EB03EB6B-9574-4EA5-A153-18382C1F2F1E}" destId="{E6D9A1BE-4E9C-4AAE-8D50-2B9A3A1DCC7F}" srcOrd="2" destOrd="0" presId="urn:microsoft.com/office/officeart/2005/8/layout/process4"/>
    <dgm:cxn modelId="{6B1F632F-B8BB-43D8-A206-0FD3E73BFAF5}" type="presParOf" srcId="{E6D9A1BE-4E9C-4AAE-8D50-2B9A3A1DCC7F}" destId="{5BEA4B0D-108A-402E-9342-32517FE70D18}" srcOrd="0" destOrd="0" presId="urn:microsoft.com/office/officeart/2005/8/layout/process4"/>
    <dgm:cxn modelId="{BD723F0B-FFE8-497E-85CF-6A18DE025BEB}" type="presParOf" srcId="{E6D9A1BE-4E9C-4AAE-8D50-2B9A3A1DCC7F}" destId="{AC2EE8B0-E87E-42A7-A10A-8C5F3FD4783F}" srcOrd="1" destOrd="0" presId="urn:microsoft.com/office/officeart/2005/8/layout/process4"/>
    <dgm:cxn modelId="{86C094D5-D4E5-44A9-A953-D1F801E988B6}" type="presParOf" srcId="{E6D9A1BE-4E9C-4AAE-8D50-2B9A3A1DCC7F}" destId="{8E35B08F-7893-43A6-ABE4-FC2EB7D14808}" srcOrd="2" destOrd="0" presId="urn:microsoft.com/office/officeart/2005/8/layout/process4"/>
    <dgm:cxn modelId="{51488247-1426-471B-93CC-1B15D2E6593F}" type="presParOf" srcId="{8E35B08F-7893-43A6-ABE4-FC2EB7D14808}" destId="{007CFC69-67D0-405F-A6F8-03FBB5EBCBD4}" srcOrd="0" destOrd="0" presId="urn:microsoft.com/office/officeart/2005/8/layout/process4"/>
    <dgm:cxn modelId="{7AE188C3-0D86-4F47-8956-72BAA66EFACC}" type="presParOf" srcId="{8E35B08F-7893-43A6-ABE4-FC2EB7D14808}" destId="{D5A9615E-6D64-42C7-A7F4-7B2D96EEBF35}" srcOrd="1" destOrd="0" presId="urn:microsoft.com/office/officeart/2005/8/layout/process4"/>
    <dgm:cxn modelId="{682217E3-81B5-4741-9888-36E74260EC48}" type="presParOf" srcId="{8E35B08F-7893-43A6-ABE4-FC2EB7D14808}" destId="{2CE9A198-0D82-4501-923D-1C7A3202EBC9}" srcOrd="2" destOrd="0" presId="urn:microsoft.com/office/officeart/2005/8/layout/process4"/>
    <dgm:cxn modelId="{5E81BB18-A888-43CC-89BA-63D55BCF30BF}" type="presParOf" srcId="{EB03EB6B-9574-4EA5-A153-18382C1F2F1E}" destId="{3B5B80E6-D439-44F0-A337-A96C8DB6A6E1}" srcOrd="3" destOrd="0" presId="urn:microsoft.com/office/officeart/2005/8/layout/process4"/>
    <dgm:cxn modelId="{5A19BBD2-DA14-44B0-93A8-3D28A1B1FD0C}" type="presParOf" srcId="{EB03EB6B-9574-4EA5-A153-18382C1F2F1E}" destId="{3FCA7FD0-DDE1-405C-9141-CFA4BEE19740}" srcOrd="4" destOrd="0" presId="urn:microsoft.com/office/officeart/2005/8/layout/process4"/>
    <dgm:cxn modelId="{C8E3D2F1-4616-4AAD-911C-76700EF3330B}" type="presParOf" srcId="{3FCA7FD0-DDE1-405C-9141-CFA4BEE19740}" destId="{88E62E39-32A8-419B-AE60-E8065A6CD1E2}" srcOrd="0" destOrd="0" presId="urn:microsoft.com/office/officeart/2005/8/layout/process4"/>
    <dgm:cxn modelId="{CEA21E01-227E-4679-84CF-4EF54B276DB6}" type="presParOf" srcId="{3FCA7FD0-DDE1-405C-9141-CFA4BEE19740}" destId="{95AD91AD-CB62-4BD8-94F0-DFCC20ABD171}" srcOrd="1" destOrd="0" presId="urn:microsoft.com/office/officeart/2005/8/layout/process4"/>
    <dgm:cxn modelId="{3869FD21-98F3-4DC0-B341-EC7D8E50B289}" type="presParOf" srcId="{3FCA7FD0-DDE1-405C-9141-CFA4BEE19740}" destId="{49659649-2EF7-4586-A95B-58970F77117F}" srcOrd="2" destOrd="0" presId="urn:microsoft.com/office/officeart/2005/8/layout/process4"/>
    <dgm:cxn modelId="{8B80D072-467C-43A5-B396-DB2A8C614AA4}" type="presParOf" srcId="{49659649-2EF7-4586-A95B-58970F77117F}" destId="{9D8D2D06-5FB4-42DA-988C-D4400F8A15D7}" srcOrd="0" destOrd="0" presId="urn:microsoft.com/office/officeart/2005/8/layout/process4"/>
    <dgm:cxn modelId="{2BD24688-C5C6-4777-8B4C-61402AE4305A}" type="presParOf" srcId="{49659649-2EF7-4586-A95B-58970F77117F}" destId="{757C85E8-B454-49CD-8F22-D3E9EB042994}" srcOrd="1" destOrd="0" presId="urn:microsoft.com/office/officeart/2005/8/layout/process4"/>
    <dgm:cxn modelId="{ED458666-95E1-4DE7-8C92-18DAA5B11F75}" type="presParOf" srcId="{49659649-2EF7-4586-A95B-58970F77117F}" destId="{49A26938-D933-49A6-8EA8-CC39758147BA}" srcOrd="2" destOrd="0" presId="urn:microsoft.com/office/officeart/2005/8/layout/process4"/>
    <dgm:cxn modelId="{C37EECDB-B0D5-4A63-BEB6-467703E3FB05}" type="presParOf" srcId="{EB03EB6B-9574-4EA5-A153-18382C1F2F1E}" destId="{5C7A3FD8-99A0-40CE-B189-AE89EE7F92DA}" srcOrd="5" destOrd="0" presId="urn:microsoft.com/office/officeart/2005/8/layout/process4"/>
    <dgm:cxn modelId="{62D44498-FB3A-483F-82B8-B79064F3756F}" type="presParOf" srcId="{EB03EB6B-9574-4EA5-A153-18382C1F2F1E}" destId="{9105E249-8148-470D-9574-1C494EBCD5E3}" srcOrd="6" destOrd="0" presId="urn:microsoft.com/office/officeart/2005/8/layout/process4"/>
    <dgm:cxn modelId="{2BC045D2-AE29-4733-A160-627CF9059BFE}" type="presParOf" srcId="{9105E249-8148-470D-9574-1C494EBCD5E3}" destId="{354D8C0C-0917-4BA0-8481-476F3B64DDF6}" srcOrd="0" destOrd="0" presId="urn:microsoft.com/office/officeart/2005/8/layout/process4"/>
    <dgm:cxn modelId="{3A600F2A-CCAD-49A9-BBB3-E181F84D224C}" type="presParOf" srcId="{9105E249-8148-470D-9574-1C494EBCD5E3}" destId="{DE4459A0-95C5-4725-9F03-9A0AD2F9926A}" srcOrd="1" destOrd="0" presId="urn:microsoft.com/office/officeart/2005/8/layout/process4"/>
    <dgm:cxn modelId="{AD507E45-5C62-4FEC-B779-5A03C53A1631}" type="presParOf" srcId="{9105E249-8148-470D-9574-1C494EBCD5E3}" destId="{A5543260-F659-408F-9B54-DC9A6C06DF1F}" srcOrd="2" destOrd="0" presId="urn:microsoft.com/office/officeart/2005/8/layout/process4"/>
    <dgm:cxn modelId="{7A3AECCF-5836-413F-9275-712F989489AA}" type="presParOf" srcId="{A5543260-F659-408F-9B54-DC9A6C06DF1F}" destId="{B6AD687A-D1FE-4304-8D99-21A7AA53D287}" srcOrd="0" destOrd="0" presId="urn:microsoft.com/office/officeart/2005/8/layout/process4"/>
    <dgm:cxn modelId="{61CB0C56-3322-4F47-9201-502B74520E83}" type="presParOf" srcId="{A5543260-F659-408F-9B54-DC9A6C06DF1F}" destId="{62EB7941-A74D-4F18-8DE5-485D8A2C4F3A}" srcOrd="1" destOrd="0" presId="urn:microsoft.com/office/officeart/2005/8/layout/process4"/>
    <dgm:cxn modelId="{EE01AE9F-027A-4415-9ADC-458E2A20058A}" type="presParOf" srcId="{A5543260-F659-408F-9B54-DC9A6C06DF1F}" destId="{CEB0F7B0-2A19-4F09-BDC3-8C3B0ACA1B28}" srcOrd="2" destOrd="0" presId="urn:microsoft.com/office/officeart/2005/8/layout/process4"/>
    <dgm:cxn modelId="{030C419F-30B9-4F59-B82C-F0A32614720F}" type="presParOf" srcId="{EB03EB6B-9574-4EA5-A153-18382C1F2F1E}" destId="{1713176F-A260-4F41-BE91-6CED18B891A8}" srcOrd="7" destOrd="0" presId="urn:microsoft.com/office/officeart/2005/8/layout/process4"/>
    <dgm:cxn modelId="{5E46E6D5-6D76-4030-BAC7-77C1FBD7F027}" type="presParOf" srcId="{EB03EB6B-9574-4EA5-A153-18382C1F2F1E}" destId="{4B80C2B2-1C45-4E43-B99D-7E755D5F1010}" srcOrd="8" destOrd="0" presId="urn:microsoft.com/office/officeart/2005/8/layout/process4"/>
    <dgm:cxn modelId="{81BD8AD5-E69B-44E6-AE2B-E6F4F739B41E}" type="presParOf" srcId="{4B80C2B2-1C45-4E43-B99D-7E755D5F1010}" destId="{7187319B-27A8-4119-9C65-A9B885720148}" srcOrd="0" destOrd="0" presId="urn:microsoft.com/office/officeart/2005/8/layout/process4"/>
    <dgm:cxn modelId="{E8E2C035-154E-4B68-9A74-22659D539B55}" type="presParOf" srcId="{4B80C2B2-1C45-4E43-B99D-7E755D5F1010}" destId="{F88137AA-2751-494D-A2CA-74235065E832}" srcOrd="1" destOrd="0" presId="urn:microsoft.com/office/officeart/2005/8/layout/process4"/>
    <dgm:cxn modelId="{58E61E2F-EC20-43A5-B425-417F0C0CD9D8}" type="presParOf" srcId="{4B80C2B2-1C45-4E43-B99D-7E755D5F1010}" destId="{17FADE8B-944B-4353-9345-07596CE7FC8F}" srcOrd="2" destOrd="0" presId="urn:microsoft.com/office/officeart/2005/8/layout/process4"/>
    <dgm:cxn modelId="{E91AD50F-59F5-4E0C-B2A2-3F82738BDC2D}" type="presParOf" srcId="{17FADE8B-944B-4353-9345-07596CE7FC8F}" destId="{0EDD97D6-9FCF-4BD4-9B78-0101DA09CB2A}" srcOrd="0" destOrd="0" presId="urn:microsoft.com/office/officeart/2005/8/layout/process4"/>
    <dgm:cxn modelId="{79ED6CA3-2843-455E-B84C-11978E4DC9F4}" type="presParOf" srcId="{17FADE8B-944B-4353-9345-07596CE7FC8F}" destId="{5B48657E-BE30-4828-B247-6BF8C67A5417}" srcOrd="1" destOrd="0" presId="urn:microsoft.com/office/officeart/2005/8/layout/process4"/>
    <dgm:cxn modelId="{19636885-9EF5-4A68-9E63-A7A621217DFB}" type="presParOf" srcId="{17FADE8B-944B-4353-9345-07596CE7FC8F}" destId="{775BC43A-FF86-4AE6-A97D-A464BAB13759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BADCF335-654D-440C-B8E0-4605EFE1FE0F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47286F35-E9B1-424F-8B02-F25D8B361C93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JESUS</a:t>
          </a:r>
          <a:endParaRPr lang="es-ES" dirty="0"/>
        </a:p>
      </dgm:t>
    </dgm:pt>
    <dgm:pt modelId="{2B03EE17-6299-49E9-BA27-952AF4E6B2CD}" type="parTrans" cxnId="{D415AB42-12B0-4838-B7A9-8A582059AD61}">
      <dgm:prSet/>
      <dgm:spPr/>
      <dgm:t>
        <a:bodyPr/>
        <a:lstStyle/>
        <a:p>
          <a:endParaRPr lang="es-ES"/>
        </a:p>
      </dgm:t>
    </dgm:pt>
    <dgm:pt modelId="{45A13544-643C-4ED6-9786-5FD032B67122}" type="sibTrans" cxnId="{D415AB42-12B0-4838-B7A9-8A582059AD61}">
      <dgm:prSet/>
      <dgm:spPr/>
      <dgm:t>
        <a:bodyPr/>
        <a:lstStyle/>
        <a:p>
          <a:endParaRPr lang="es-ES"/>
        </a:p>
      </dgm:t>
    </dgm:pt>
    <dgm:pt modelId="{7B9EE2DB-EA46-43FE-943E-34D29B600F03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INTELICA</a:t>
          </a:r>
          <a:endParaRPr lang="es-ES" dirty="0"/>
        </a:p>
      </dgm:t>
    </dgm:pt>
    <dgm:pt modelId="{7464579A-5DD9-4454-9FE3-5672269F0138}" type="parTrans" cxnId="{758D59D9-93FF-41AE-B28E-092243A9DDAF}">
      <dgm:prSet/>
      <dgm:spPr/>
      <dgm:t>
        <a:bodyPr/>
        <a:lstStyle/>
        <a:p>
          <a:endParaRPr lang="es-ES"/>
        </a:p>
      </dgm:t>
    </dgm:pt>
    <dgm:pt modelId="{DF888FC3-D4FA-44C4-B9EB-3EF482C7DA68}" type="sibTrans" cxnId="{758D59D9-93FF-41AE-B28E-092243A9DDAF}">
      <dgm:prSet/>
      <dgm:spPr/>
      <dgm:t>
        <a:bodyPr/>
        <a:lstStyle/>
        <a:p>
          <a:endParaRPr lang="es-ES"/>
        </a:p>
      </dgm:t>
    </dgm:pt>
    <dgm:pt modelId="{8AC6DD6F-B962-43CA-93E9-82B68AD056FC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-</a:t>
          </a:r>
          <a:endParaRPr lang="es-ES" dirty="0"/>
        </a:p>
      </dgm:t>
    </dgm:pt>
    <dgm:pt modelId="{74E9A38C-9687-4E9B-BAE7-8A7061501BC6}" type="parTrans" cxnId="{9D6F6006-061B-473A-8EB4-96EF1594B9F2}">
      <dgm:prSet/>
      <dgm:spPr/>
      <dgm:t>
        <a:bodyPr/>
        <a:lstStyle/>
        <a:p>
          <a:endParaRPr lang="es-ES"/>
        </a:p>
      </dgm:t>
    </dgm:pt>
    <dgm:pt modelId="{EDCF41B6-F703-44AD-8514-D69E6022ABCE}" type="sibTrans" cxnId="{9D6F6006-061B-473A-8EB4-96EF1594B9F2}">
      <dgm:prSet/>
      <dgm:spPr/>
      <dgm:t>
        <a:bodyPr/>
        <a:lstStyle/>
        <a:p>
          <a:endParaRPr lang="es-ES"/>
        </a:p>
      </dgm:t>
    </dgm:pt>
    <dgm:pt modelId="{FB6C047B-42AD-4DFD-B35F-25CD86358546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MINED</a:t>
          </a:r>
          <a:endParaRPr lang="es-ES" dirty="0"/>
        </a:p>
      </dgm:t>
    </dgm:pt>
    <dgm:pt modelId="{71E046BF-E1DA-459A-9D18-F5A4332775B2}" type="parTrans" cxnId="{315C7571-7DA4-4420-AA24-B51622A48D84}">
      <dgm:prSet/>
      <dgm:spPr/>
      <dgm:t>
        <a:bodyPr/>
        <a:lstStyle/>
        <a:p>
          <a:endParaRPr lang="es-ES"/>
        </a:p>
      </dgm:t>
    </dgm:pt>
    <dgm:pt modelId="{B763D707-4DC2-44C9-8004-91DEB699C572}" type="sibTrans" cxnId="{315C7571-7DA4-4420-AA24-B51622A48D84}">
      <dgm:prSet/>
      <dgm:spPr/>
      <dgm:t>
        <a:bodyPr/>
        <a:lstStyle/>
        <a:p>
          <a:endParaRPr lang="es-ES"/>
        </a:p>
      </dgm:t>
    </dgm:pt>
    <dgm:pt modelId="{5E19889A-2FF2-409B-A712-F12A464762EA}">
      <dgm:prSet phldrT="[Texto]" phldr="0"/>
      <dgm:spPr/>
      <dgm:t>
        <a:bodyPr/>
        <a:lstStyle/>
        <a:p>
          <a:pPr rtl="0"/>
          <a:r>
            <a:rPr lang="es-ES" dirty="0">
              <a:latin typeface="Helvetica"/>
              <a:cs typeface="Helvetica"/>
            </a:rPr>
            <a:t>PAQUETES DE CAMBIOS</a:t>
          </a:r>
          <a:endParaRPr lang="es-ES" dirty="0"/>
        </a:p>
      </dgm:t>
    </dgm:pt>
    <dgm:pt modelId="{7948DFA4-F38B-4067-AFFA-3EDDBCE21AE6}" type="parTrans" cxnId="{9F1123D5-FF47-4091-8AB6-E1DDF610C84D}">
      <dgm:prSet/>
      <dgm:spPr/>
      <dgm:t>
        <a:bodyPr/>
        <a:lstStyle/>
        <a:p>
          <a:endParaRPr lang="es-ES"/>
        </a:p>
      </dgm:t>
    </dgm:pt>
    <dgm:pt modelId="{6CD21BD7-4EC0-4D9D-B8C5-D3646789AD06}" type="sibTrans" cxnId="{9F1123D5-FF47-4091-8AB6-E1DDF610C84D}">
      <dgm:prSet/>
      <dgm:spPr/>
      <dgm:t>
        <a:bodyPr/>
        <a:lstStyle/>
        <a:p>
          <a:endParaRPr lang="es-ES"/>
        </a:p>
      </dgm:t>
    </dgm:pt>
    <dgm:pt modelId="{D98BC286-0BBC-4CFE-ADBA-CC9EB9C8C0A5}">
      <dgm:prSet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MICONNECT</a:t>
          </a:r>
        </a:p>
      </dgm:t>
    </dgm:pt>
    <dgm:pt modelId="{F9630E94-F12F-4D15-A979-35CD268A9372}" type="parTrans" cxnId="{DE28C561-44D0-4A3E-BE62-DBE738EE8BC1}">
      <dgm:prSet/>
      <dgm:spPr/>
      <dgm:t>
        <a:bodyPr/>
        <a:lstStyle/>
        <a:p>
          <a:endParaRPr lang="es-ES"/>
        </a:p>
      </dgm:t>
    </dgm:pt>
    <dgm:pt modelId="{9257B9C3-4D31-4368-949F-C5D4439745E2}" type="sibTrans" cxnId="{DE28C561-44D0-4A3E-BE62-DBE738EE8BC1}">
      <dgm:prSet/>
      <dgm:spPr/>
    </dgm:pt>
    <dgm:pt modelId="{E657CA94-0020-4092-A2B4-92A4D6D27D71}">
      <dgm:prSet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SOPORTE</a:t>
          </a:r>
        </a:p>
      </dgm:t>
    </dgm:pt>
    <dgm:pt modelId="{94EDEE8C-7349-480B-A182-64E8FA4E35DF}" type="parTrans" cxnId="{5CA56675-A829-49B9-980E-F2888DE1D256}">
      <dgm:prSet/>
      <dgm:spPr/>
      <dgm:t>
        <a:bodyPr/>
        <a:lstStyle/>
        <a:p>
          <a:endParaRPr lang="es-ES"/>
        </a:p>
      </dgm:t>
    </dgm:pt>
    <dgm:pt modelId="{5FA78465-8A2C-4ACF-9FB6-EDBC4FF2193E}" type="sibTrans" cxnId="{5CA56675-A829-49B9-980E-F2888DE1D256}">
      <dgm:prSet/>
      <dgm:spPr/>
    </dgm:pt>
    <dgm:pt modelId="{69376969-0127-4C38-9774-5D4B74841380}" type="pres">
      <dgm:prSet presAssocID="{BADCF335-654D-440C-B8E0-4605EFE1FE0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9F31D87-470C-432F-BC88-DE6DCB9F0382}" type="pres">
      <dgm:prSet presAssocID="{47286F35-E9B1-424F-8B02-F25D8B361C93}" presName="root1" presStyleCnt="0"/>
      <dgm:spPr/>
    </dgm:pt>
    <dgm:pt modelId="{F54EA502-D312-4759-B024-123BBF7E6FAF}" type="pres">
      <dgm:prSet presAssocID="{47286F35-E9B1-424F-8B02-F25D8B361C93}" presName="LevelOneTextNode" presStyleLbl="node0" presStyleIdx="0" presStyleCnt="1">
        <dgm:presLayoutVars>
          <dgm:chPref val="3"/>
        </dgm:presLayoutVars>
      </dgm:prSet>
      <dgm:spPr/>
    </dgm:pt>
    <dgm:pt modelId="{7EBF8A92-A419-4A7A-BAA9-4C9885933DB5}" type="pres">
      <dgm:prSet presAssocID="{47286F35-E9B1-424F-8B02-F25D8B361C93}" presName="level2hierChild" presStyleCnt="0"/>
      <dgm:spPr/>
    </dgm:pt>
    <dgm:pt modelId="{F15903AC-B8FB-4812-AA69-A8618C55087D}" type="pres">
      <dgm:prSet presAssocID="{F9630E94-F12F-4D15-A979-35CD268A9372}" presName="conn2-1" presStyleLbl="parChTrans1D2" presStyleIdx="0" presStyleCnt="3"/>
      <dgm:spPr/>
    </dgm:pt>
    <dgm:pt modelId="{6B5AD2AA-974C-42F1-BA02-2F39C49BBC15}" type="pres">
      <dgm:prSet presAssocID="{F9630E94-F12F-4D15-A979-35CD268A9372}" presName="connTx" presStyleLbl="parChTrans1D2" presStyleIdx="0" presStyleCnt="3"/>
      <dgm:spPr/>
    </dgm:pt>
    <dgm:pt modelId="{FB116A05-E083-4828-8D20-057E6BC2A3C1}" type="pres">
      <dgm:prSet presAssocID="{D98BC286-0BBC-4CFE-ADBA-CC9EB9C8C0A5}" presName="root2" presStyleCnt="0"/>
      <dgm:spPr/>
    </dgm:pt>
    <dgm:pt modelId="{EF8EF8A5-9CDD-47E5-81E6-0ECC48F48519}" type="pres">
      <dgm:prSet presAssocID="{D98BC286-0BBC-4CFE-ADBA-CC9EB9C8C0A5}" presName="LevelTwoTextNode" presStyleLbl="node2" presStyleIdx="0" presStyleCnt="3">
        <dgm:presLayoutVars>
          <dgm:chPref val="3"/>
        </dgm:presLayoutVars>
      </dgm:prSet>
      <dgm:spPr/>
    </dgm:pt>
    <dgm:pt modelId="{FBB291E7-E19D-40CE-B477-F45E30B5E0EE}" type="pres">
      <dgm:prSet presAssocID="{D98BC286-0BBC-4CFE-ADBA-CC9EB9C8C0A5}" presName="level3hierChild" presStyleCnt="0"/>
      <dgm:spPr/>
    </dgm:pt>
    <dgm:pt modelId="{13FDF0E0-E120-4A73-80A2-E66BA82A80FB}" type="pres">
      <dgm:prSet presAssocID="{94EDEE8C-7349-480B-A182-64E8FA4E35DF}" presName="conn2-1" presStyleLbl="parChTrans1D3" presStyleIdx="0" presStyleCnt="3"/>
      <dgm:spPr/>
    </dgm:pt>
    <dgm:pt modelId="{F8D43EAC-1B70-4CDF-A7C9-62A17DA792F5}" type="pres">
      <dgm:prSet presAssocID="{94EDEE8C-7349-480B-A182-64E8FA4E35DF}" presName="connTx" presStyleLbl="parChTrans1D3" presStyleIdx="0" presStyleCnt="3"/>
      <dgm:spPr/>
    </dgm:pt>
    <dgm:pt modelId="{8F0674F7-FAE7-49D6-8DA2-AB155073A6F8}" type="pres">
      <dgm:prSet presAssocID="{E657CA94-0020-4092-A2B4-92A4D6D27D71}" presName="root2" presStyleCnt="0"/>
      <dgm:spPr/>
    </dgm:pt>
    <dgm:pt modelId="{EB2F904A-288B-48C4-B7B2-4F8986707B2D}" type="pres">
      <dgm:prSet presAssocID="{E657CA94-0020-4092-A2B4-92A4D6D27D71}" presName="LevelTwoTextNode" presStyleLbl="node3" presStyleIdx="0" presStyleCnt="3">
        <dgm:presLayoutVars>
          <dgm:chPref val="3"/>
        </dgm:presLayoutVars>
      </dgm:prSet>
      <dgm:spPr/>
    </dgm:pt>
    <dgm:pt modelId="{17A41DE0-D3B9-44AD-8158-01E1186B6F43}" type="pres">
      <dgm:prSet presAssocID="{E657CA94-0020-4092-A2B4-92A4D6D27D71}" presName="level3hierChild" presStyleCnt="0"/>
      <dgm:spPr/>
    </dgm:pt>
    <dgm:pt modelId="{1BAB57BC-B805-40CC-9679-6639A8F587BC}" type="pres">
      <dgm:prSet presAssocID="{7464579A-5DD9-4454-9FE3-5672269F0138}" presName="conn2-1" presStyleLbl="parChTrans1D2" presStyleIdx="1" presStyleCnt="3"/>
      <dgm:spPr/>
    </dgm:pt>
    <dgm:pt modelId="{4094B7AF-31B1-4AFB-9017-A456A89DD169}" type="pres">
      <dgm:prSet presAssocID="{7464579A-5DD9-4454-9FE3-5672269F0138}" presName="connTx" presStyleLbl="parChTrans1D2" presStyleIdx="1" presStyleCnt="3"/>
      <dgm:spPr/>
    </dgm:pt>
    <dgm:pt modelId="{F8590EA1-0CE7-4E0A-8B96-04750A3CF546}" type="pres">
      <dgm:prSet presAssocID="{7B9EE2DB-EA46-43FE-943E-34D29B600F03}" presName="root2" presStyleCnt="0"/>
      <dgm:spPr/>
    </dgm:pt>
    <dgm:pt modelId="{66B51707-BA83-47B3-AD19-F727585B2C95}" type="pres">
      <dgm:prSet presAssocID="{7B9EE2DB-EA46-43FE-943E-34D29B600F03}" presName="LevelTwoTextNode" presStyleLbl="node2" presStyleIdx="1" presStyleCnt="3">
        <dgm:presLayoutVars>
          <dgm:chPref val="3"/>
        </dgm:presLayoutVars>
      </dgm:prSet>
      <dgm:spPr/>
    </dgm:pt>
    <dgm:pt modelId="{DE86AE22-AA89-4D84-AFF0-E690A4351206}" type="pres">
      <dgm:prSet presAssocID="{7B9EE2DB-EA46-43FE-943E-34D29B600F03}" presName="level3hierChild" presStyleCnt="0"/>
      <dgm:spPr/>
    </dgm:pt>
    <dgm:pt modelId="{9ADBA6A1-E10F-4559-AA96-48A9861CDDEA}" type="pres">
      <dgm:prSet presAssocID="{74E9A38C-9687-4E9B-BAE7-8A7061501BC6}" presName="conn2-1" presStyleLbl="parChTrans1D3" presStyleIdx="1" presStyleCnt="3"/>
      <dgm:spPr/>
    </dgm:pt>
    <dgm:pt modelId="{7D584F75-A299-46A4-AB6D-855702BE186E}" type="pres">
      <dgm:prSet presAssocID="{74E9A38C-9687-4E9B-BAE7-8A7061501BC6}" presName="connTx" presStyleLbl="parChTrans1D3" presStyleIdx="1" presStyleCnt="3"/>
      <dgm:spPr/>
    </dgm:pt>
    <dgm:pt modelId="{8A8CA726-B142-459B-B586-ED8401594DFF}" type="pres">
      <dgm:prSet presAssocID="{8AC6DD6F-B962-43CA-93E9-82B68AD056FC}" presName="root2" presStyleCnt="0"/>
      <dgm:spPr/>
    </dgm:pt>
    <dgm:pt modelId="{93107F03-432B-4672-9BBF-5F1409A3C448}" type="pres">
      <dgm:prSet presAssocID="{8AC6DD6F-B962-43CA-93E9-82B68AD056FC}" presName="LevelTwoTextNode" presStyleLbl="node3" presStyleIdx="1" presStyleCnt="3">
        <dgm:presLayoutVars>
          <dgm:chPref val="3"/>
        </dgm:presLayoutVars>
      </dgm:prSet>
      <dgm:spPr/>
    </dgm:pt>
    <dgm:pt modelId="{70C5FB8D-FE11-4E88-8CCC-AFFC031854B9}" type="pres">
      <dgm:prSet presAssocID="{8AC6DD6F-B962-43CA-93E9-82B68AD056FC}" presName="level3hierChild" presStyleCnt="0"/>
      <dgm:spPr/>
    </dgm:pt>
    <dgm:pt modelId="{0C0C5502-EBC3-4CA7-9BDF-3F5EE2A8AF7C}" type="pres">
      <dgm:prSet presAssocID="{71E046BF-E1DA-459A-9D18-F5A4332775B2}" presName="conn2-1" presStyleLbl="parChTrans1D2" presStyleIdx="2" presStyleCnt="3"/>
      <dgm:spPr/>
    </dgm:pt>
    <dgm:pt modelId="{7B48A01A-42AE-4456-BB3A-F2E962E9BD3A}" type="pres">
      <dgm:prSet presAssocID="{71E046BF-E1DA-459A-9D18-F5A4332775B2}" presName="connTx" presStyleLbl="parChTrans1D2" presStyleIdx="2" presStyleCnt="3"/>
      <dgm:spPr/>
    </dgm:pt>
    <dgm:pt modelId="{9246F5BF-128C-4036-B713-FA9E724D93A8}" type="pres">
      <dgm:prSet presAssocID="{FB6C047B-42AD-4DFD-B35F-25CD86358546}" presName="root2" presStyleCnt="0"/>
      <dgm:spPr/>
    </dgm:pt>
    <dgm:pt modelId="{50531140-9B2F-4579-80BD-1C713B74F6E7}" type="pres">
      <dgm:prSet presAssocID="{FB6C047B-42AD-4DFD-B35F-25CD86358546}" presName="LevelTwoTextNode" presStyleLbl="node2" presStyleIdx="2" presStyleCnt="3">
        <dgm:presLayoutVars>
          <dgm:chPref val="3"/>
        </dgm:presLayoutVars>
      </dgm:prSet>
      <dgm:spPr/>
    </dgm:pt>
    <dgm:pt modelId="{5B4AC089-9004-4C5A-A4B4-FFD77E7422E2}" type="pres">
      <dgm:prSet presAssocID="{FB6C047B-42AD-4DFD-B35F-25CD86358546}" presName="level3hierChild" presStyleCnt="0"/>
      <dgm:spPr/>
    </dgm:pt>
    <dgm:pt modelId="{D8CDF5A1-AA7E-4EDE-AF8C-DCC55BB1FCC1}" type="pres">
      <dgm:prSet presAssocID="{7948DFA4-F38B-4067-AFFA-3EDDBCE21AE6}" presName="conn2-1" presStyleLbl="parChTrans1D3" presStyleIdx="2" presStyleCnt="3"/>
      <dgm:spPr/>
    </dgm:pt>
    <dgm:pt modelId="{47CFF3ED-8233-4D4D-AE05-C31EF8FC22C9}" type="pres">
      <dgm:prSet presAssocID="{7948DFA4-F38B-4067-AFFA-3EDDBCE21AE6}" presName="connTx" presStyleLbl="parChTrans1D3" presStyleIdx="2" presStyleCnt="3"/>
      <dgm:spPr/>
    </dgm:pt>
    <dgm:pt modelId="{CE71DFD1-C52B-44E9-A27B-691F2BA76EB5}" type="pres">
      <dgm:prSet presAssocID="{5E19889A-2FF2-409B-A712-F12A464762EA}" presName="root2" presStyleCnt="0"/>
      <dgm:spPr/>
    </dgm:pt>
    <dgm:pt modelId="{DED6FB85-E750-4F67-A23C-48C391747B23}" type="pres">
      <dgm:prSet presAssocID="{5E19889A-2FF2-409B-A712-F12A464762EA}" presName="LevelTwoTextNode" presStyleLbl="node3" presStyleIdx="2" presStyleCnt="3">
        <dgm:presLayoutVars>
          <dgm:chPref val="3"/>
        </dgm:presLayoutVars>
      </dgm:prSet>
      <dgm:spPr/>
    </dgm:pt>
    <dgm:pt modelId="{C30A7FBD-62C4-443A-99F1-2820E10713A2}" type="pres">
      <dgm:prSet presAssocID="{5E19889A-2FF2-409B-A712-F12A464762EA}" presName="level3hierChild" presStyleCnt="0"/>
      <dgm:spPr/>
    </dgm:pt>
  </dgm:ptLst>
  <dgm:cxnLst>
    <dgm:cxn modelId="{8FEFEB05-D473-4ABD-8DA7-11A81BA424EC}" type="presOf" srcId="{BADCF335-654D-440C-B8E0-4605EFE1FE0F}" destId="{69376969-0127-4C38-9774-5D4B74841380}" srcOrd="0" destOrd="0" presId="urn:microsoft.com/office/officeart/2005/8/layout/hierarchy2"/>
    <dgm:cxn modelId="{9D6F6006-061B-473A-8EB4-96EF1594B9F2}" srcId="{7B9EE2DB-EA46-43FE-943E-34D29B600F03}" destId="{8AC6DD6F-B962-43CA-93E9-82B68AD056FC}" srcOrd="0" destOrd="0" parTransId="{74E9A38C-9687-4E9B-BAE7-8A7061501BC6}" sibTransId="{EDCF41B6-F703-44AD-8514-D69E6022ABCE}"/>
    <dgm:cxn modelId="{5A9B5609-ECEB-45F4-94CA-A02E829E6BFB}" type="presOf" srcId="{E657CA94-0020-4092-A2B4-92A4D6D27D71}" destId="{EB2F904A-288B-48C4-B7B2-4F8986707B2D}" srcOrd="0" destOrd="0" presId="urn:microsoft.com/office/officeart/2005/8/layout/hierarchy2"/>
    <dgm:cxn modelId="{6D6D5D11-7996-432A-84C6-FBADB6560681}" type="presOf" srcId="{FB6C047B-42AD-4DFD-B35F-25CD86358546}" destId="{50531140-9B2F-4579-80BD-1C713B74F6E7}" srcOrd="0" destOrd="0" presId="urn:microsoft.com/office/officeart/2005/8/layout/hierarchy2"/>
    <dgm:cxn modelId="{14136429-502C-4375-A468-D729D0D7EFA9}" type="presOf" srcId="{7948DFA4-F38B-4067-AFFA-3EDDBCE21AE6}" destId="{D8CDF5A1-AA7E-4EDE-AF8C-DCC55BB1FCC1}" srcOrd="0" destOrd="0" presId="urn:microsoft.com/office/officeart/2005/8/layout/hierarchy2"/>
    <dgm:cxn modelId="{6F828831-834A-4F06-9D97-BB82783AE278}" type="presOf" srcId="{F9630E94-F12F-4D15-A979-35CD268A9372}" destId="{6B5AD2AA-974C-42F1-BA02-2F39C49BBC15}" srcOrd="1" destOrd="0" presId="urn:microsoft.com/office/officeart/2005/8/layout/hierarchy2"/>
    <dgm:cxn modelId="{032F6332-3FC9-4BC4-B06A-C92FA2AB35E1}" type="presOf" srcId="{D98BC286-0BBC-4CFE-ADBA-CC9EB9C8C0A5}" destId="{EF8EF8A5-9CDD-47E5-81E6-0ECC48F48519}" srcOrd="0" destOrd="0" presId="urn:microsoft.com/office/officeart/2005/8/layout/hierarchy2"/>
    <dgm:cxn modelId="{D84DD25E-2F63-4D0B-A6BB-F33016D57590}" type="presOf" srcId="{8AC6DD6F-B962-43CA-93E9-82B68AD056FC}" destId="{93107F03-432B-4672-9BBF-5F1409A3C448}" srcOrd="0" destOrd="0" presId="urn:microsoft.com/office/officeart/2005/8/layout/hierarchy2"/>
    <dgm:cxn modelId="{BEBE6C5F-FAAE-4FAA-A1B8-97CE71489C5A}" type="presOf" srcId="{7464579A-5DD9-4454-9FE3-5672269F0138}" destId="{4094B7AF-31B1-4AFB-9017-A456A89DD169}" srcOrd="1" destOrd="0" presId="urn:microsoft.com/office/officeart/2005/8/layout/hierarchy2"/>
    <dgm:cxn modelId="{35BEAE41-7334-4AE5-A1B3-65DA652D2D2D}" type="presOf" srcId="{F9630E94-F12F-4D15-A979-35CD268A9372}" destId="{F15903AC-B8FB-4812-AA69-A8618C55087D}" srcOrd="0" destOrd="0" presId="urn:microsoft.com/office/officeart/2005/8/layout/hierarchy2"/>
    <dgm:cxn modelId="{DE28C561-44D0-4A3E-BE62-DBE738EE8BC1}" srcId="{47286F35-E9B1-424F-8B02-F25D8B361C93}" destId="{D98BC286-0BBC-4CFE-ADBA-CC9EB9C8C0A5}" srcOrd="0" destOrd="0" parTransId="{F9630E94-F12F-4D15-A979-35CD268A9372}" sibTransId="{9257B9C3-4D31-4368-949F-C5D4439745E2}"/>
    <dgm:cxn modelId="{D415AB42-12B0-4838-B7A9-8A582059AD61}" srcId="{BADCF335-654D-440C-B8E0-4605EFE1FE0F}" destId="{47286F35-E9B1-424F-8B02-F25D8B361C93}" srcOrd="0" destOrd="0" parTransId="{2B03EE17-6299-49E9-BA27-952AF4E6B2CD}" sibTransId="{45A13544-643C-4ED6-9786-5FD032B67122}"/>
    <dgm:cxn modelId="{15E1CC4E-A954-4DE7-AAC5-00064F42CF5D}" type="presOf" srcId="{94EDEE8C-7349-480B-A182-64E8FA4E35DF}" destId="{13FDF0E0-E120-4A73-80A2-E66BA82A80FB}" srcOrd="0" destOrd="0" presId="urn:microsoft.com/office/officeart/2005/8/layout/hierarchy2"/>
    <dgm:cxn modelId="{315C7571-7DA4-4420-AA24-B51622A48D84}" srcId="{47286F35-E9B1-424F-8B02-F25D8B361C93}" destId="{FB6C047B-42AD-4DFD-B35F-25CD86358546}" srcOrd="2" destOrd="0" parTransId="{71E046BF-E1DA-459A-9D18-F5A4332775B2}" sibTransId="{B763D707-4DC2-44C9-8004-91DEB699C572}"/>
    <dgm:cxn modelId="{ACA58073-6DE4-423A-9C15-552C8E557B31}" type="presOf" srcId="{7464579A-5DD9-4454-9FE3-5672269F0138}" destId="{1BAB57BC-B805-40CC-9679-6639A8F587BC}" srcOrd="0" destOrd="0" presId="urn:microsoft.com/office/officeart/2005/8/layout/hierarchy2"/>
    <dgm:cxn modelId="{B2902574-0798-4501-9E96-15E7AFC101FA}" type="presOf" srcId="{47286F35-E9B1-424F-8B02-F25D8B361C93}" destId="{F54EA502-D312-4759-B024-123BBF7E6FAF}" srcOrd="0" destOrd="0" presId="urn:microsoft.com/office/officeart/2005/8/layout/hierarchy2"/>
    <dgm:cxn modelId="{5CA56675-A829-49B9-980E-F2888DE1D256}" srcId="{D98BC286-0BBC-4CFE-ADBA-CC9EB9C8C0A5}" destId="{E657CA94-0020-4092-A2B4-92A4D6D27D71}" srcOrd="0" destOrd="0" parTransId="{94EDEE8C-7349-480B-A182-64E8FA4E35DF}" sibTransId="{5FA78465-8A2C-4ACF-9FB6-EDBC4FF2193E}"/>
    <dgm:cxn modelId="{84D6D075-D206-4ECF-AD20-D316063C7889}" type="presOf" srcId="{5E19889A-2FF2-409B-A712-F12A464762EA}" destId="{DED6FB85-E750-4F67-A23C-48C391747B23}" srcOrd="0" destOrd="0" presId="urn:microsoft.com/office/officeart/2005/8/layout/hierarchy2"/>
    <dgm:cxn modelId="{9C4D3B8D-E664-4117-952F-01A45F7EA903}" type="presOf" srcId="{74E9A38C-9687-4E9B-BAE7-8A7061501BC6}" destId="{9ADBA6A1-E10F-4559-AA96-48A9861CDDEA}" srcOrd="0" destOrd="0" presId="urn:microsoft.com/office/officeart/2005/8/layout/hierarchy2"/>
    <dgm:cxn modelId="{73C0B38D-B3EE-4EDB-9C21-64C164376517}" type="presOf" srcId="{7948DFA4-F38B-4067-AFFA-3EDDBCE21AE6}" destId="{47CFF3ED-8233-4D4D-AE05-C31EF8FC22C9}" srcOrd="1" destOrd="0" presId="urn:microsoft.com/office/officeart/2005/8/layout/hierarchy2"/>
    <dgm:cxn modelId="{52CC8AA6-CD45-45DF-B183-06D5F6931F70}" type="presOf" srcId="{71E046BF-E1DA-459A-9D18-F5A4332775B2}" destId="{7B48A01A-42AE-4456-BB3A-F2E962E9BD3A}" srcOrd="1" destOrd="0" presId="urn:microsoft.com/office/officeart/2005/8/layout/hierarchy2"/>
    <dgm:cxn modelId="{9F1123D5-FF47-4091-8AB6-E1DDF610C84D}" srcId="{FB6C047B-42AD-4DFD-B35F-25CD86358546}" destId="{5E19889A-2FF2-409B-A712-F12A464762EA}" srcOrd="0" destOrd="0" parTransId="{7948DFA4-F38B-4067-AFFA-3EDDBCE21AE6}" sibTransId="{6CD21BD7-4EC0-4D9D-B8C5-D3646789AD06}"/>
    <dgm:cxn modelId="{81A2B0D8-34BB-4635-A1DA-C230C72388C5}" type="presOf" srcId="{74E9A38C-9687-4E9B-BAE7-8A7061501BC6}" destId="{7D584F75-A299-46A4-AB6D-855702BE186E}" srcOrd="1" destOrd="0" presId="urn:microsoft.com/office/officeart/2005/8/layout/hierarchy2"/>
    <dgm:cxn modelId="{758D59D9-93FF-41AE-B28E-092243A9DDAF}" srcId="{47286F35-E9B1-424F-8B02-F25D8B361C93}" destId="{7B9EE2DB-EA46-43FE-943E-34D29B600F03}" srcOrd="1" destOrd="0" parTransId="{7464579A-5DD9-4454-9FE3-5672269F0138}" sibTransId="{DF888FC3-D4FA-44C4-B9EB-3EF482C7DA68}"/>
    <dgm:cxn modelId="{677F2CDA-52DC-457D-9790-D85A879CBFA5}" type="presOf" srcId="{7B9EE2DB-EA46-43FE-943E-34D29B600F03}" destId="{66B51707-BA83-47B3-AD19-F727585B2C95}" srcOrd="0" destOrd="0" presId="urn:microsoft.com/office/officeart/2005/8/layout/hierarchy2"/>
    <dgm:cxn modelId="{4D5681FE-D5F9-4D22-898C-48B80AD9A1F7}" type="presOf" srcId="{71E046BF-E1DA-459A-9D18-F5A4332775B2}" destId="{0C0C5502-EBC3-4CA7-9BDF-3F5EE2A8AF7C}" srcOrd="0" destOrd="0" presId="urn:microsoft.com/office/officeart/2005/8/layout/hierarchy2"/>
    <dgm:cxn modelId="{9F2BEDFE-E096-461D-A7F8-1314D18A3D51}" type="presOf" srcId="{94EDEE8C-7349-480B-A182-64E8FA4E35DF}" destId="{F8D43EAC-1B70-4CDF-A7C9-62A17DA792F5}" srcOrd="1" destOrd="0" presId="urn:microsoft.com/office/officeart/2005/8/layout/hierarchy2"/>
    <dgm:cxn modelId="{55F946D8-8B5C-41C5-91D2-C15351F4C186}" type="presParOf" srcId="{69376969-0127-4C38-9774-5D4B74841380}" destId="{C9F31D87-470C-432F-BC88-DE6DCB9F0382}" srcOrd="0" destOrd="0" presId="urn:microsoft.com/office/officeart/2005/8/layout/hierarchy2"/>
    <dgm:cxn modelId="{9A7039F6-5EA0-4A29-A387-79B988140A80}" type="presParOf" srcId="{C9F31D87-470C-432F-BC88-DE6DCB9F0382}" destId="{F54EA502-D312-4759-B024-123BBF7E6FAF}" srcOrd="0" destOrd="0" presId="urn:microsoft.com/office/officeart/2005/8/layout/hierarchy2"/>
    <dgm:cxn modelId="{F8A129F1-BD3F-4B1A-A195-D55B7CF621DB}" type="presParOf" srcId="{C9F31D87-470C-432F-BC88-DE6DCB9F0382}" destId="{7EBF8A92-A419-4A7A-BAA9-4C9885933DB5}" srcOrd="1" destOrd="0" presId="urn:microsoft.com/office/officeart/2005/8/layout/hierarchy2"/>
    <dgm:cxn modelId="{48CDABD2-2D32-4180-9348-2DB193FBABFF}" type="presParOf" srcId="{7EBF8A92-A419-4A7A-BAA9-4C9885933DB5}" destId="{F15903AC-B8FB-4812-AA69-A8618C55087D}" srcOrd="0" destOrd="0" presId="urn:microsoft.com/office/officeart/2005/8/layout/hierarchy2"/>
    <dgm:cxn modelId="{FC14975B-9EF5-4418-B66D-AC42112B96FB}" type="presParOf" srcId="{F15903AC-B8FB-4812-AA69-A8618C55087D}" destId="{6B5AD2AA-974C-42F1-BA02-2F39C49BBC15}" srcOrd="0" destOrd="0" presId="urn:microsoft.com/office/officeart/2005/8/layout/hierarchy2"/>
    <dgm:cxn modelId="{C734F8D6-F44D-4DBC-8F62-AE964294C126}" type="presParOf" srcId="{7EBF8A92-A419-4A7A-BAA9-4C9885933DB5}" destId="{FB116A05-E083-4828-8D20-057E6BC2A3C1}" srcOrd="1" destOrd="0" presId="urn:microsoft.com/office/officeart/2005/8/layout/hierarchy2"/>
    <dgm:cxn modelId="{DB93769E-10D6-4965-A571-D283B70538BF}" type="presParOf" srcId="{FB116A05-E083-4828-8D20-057E6BC2A3C1}" destId="{EF8EF8A5-9CDD-47E5-81E6-0ECC48F48519}" srcOrd="0" destOrd="0" presId="urn:microsoft.com/office/officeart/2005/8/layout/hierarchy2"/>
    <dgm:cxn modelId="{BB870B84-9015-4CCF-8DD8-2AFEC3290E9C}" type="presParOf" srcId="{FB116A05-E083-4828-8D20-057E6BC2A3C1}" destId="{FBB291E7-E19D-40CE-B477-F45E30B5E0EE}" srcOrd="1" destOrd="0" presId="urn:microsoft.com/office/officeart/2005/8/layout/hierarchy2"/>
    <dgm:cxn modelId="{2D276B16-851A-4591-8ED2-2EE0E1246726}" type="presParOf" srcId="{FBB291E7-E19D-40CE-B477-F45E30B5E0EE}" destId="{13FDF0E0-E120-4A73-80A2-E66BA82A80FB}" srcOrd="0" destOrd="0" presId="urn:microsoft.com/office/officeart/2005/8/layout/hierarchy2"/>
    <dgm:cxn modelId="{64213DFF-0339-499E-97EB-4EF7CA882A6F}" type="presParOf" srcId="{13FDF0E0-E120-4A73-80A2-E66BA82A80FB}" destId="{F8D43EAC-1B70-4CDF-A7C9-62A17DA792F5}" srcOrd="0" destOrd="0" presId="urn:microsoft.com/office/officeart/2005/8/layout/hierarchy2"/>
    <dgm:cxn modelId="{51D2237C-F51D-4672-9C1D-682B7405D7E8}" type="presParOf" srcId="{FBB291E7-E19D-40CE-B477-F45E30B5E0EE}" destId="{8F0674F7-FAE7-49D6-8DA2-AB155073A6F8}" srcOrd="1" destOrd="0" presId="urn:microsoft.com/office/officeart/2005/8/layout/hierarchy2"/>
    <dgm:cxn modelId="{625F181A-EA0B-460E-909B-2DBBD378FA25}" type="presParOf" srcId="{8F0674F7-FAE7-49D6-8DA2-AB155073A6F8}" destId="{EB2F904A-288B-48C4-B7B2-4F8986707B2D}" srcOrd="0" destOrd="0" presId="urn:microsoft.com/office/officeart/2005/8/layout/hierarchy2"/>
    <dgm:cxn modelId="{3FD3A03F-AA1B-4578-A31C-E301829ADA02}" type="presParOf" srcId="{8F0674F7-FAE7-49D6-8DA2-AB155073A6F8}" destId="{17A41DE0-D3B9-44AD-8158-01E1186B6F43}" srcOrd="1" destOrd="0" presId="urn:microsoft.com/office/officeart/2005/8/layout/hierarchy2"/>
    <dgm:cxn modelId="{C6AA2CB4-C743-42FC-B278-BB8F396CF813}" type="presParOf" srcId="{7EBF8A92-A419-4A7A-BAA9-4C9885933DB5}" destId="{1BAB57BC-B805-40CC-9679-6639A8F587BC}" srcOrd="2" destOrd="0" presId="urn:microsoft.com/office/officeart/2005/8/layout/hierarchy2"/>
    <dgm:cxn modelId="{DE48E12A-D2C5-425E-BF28-50A40FDE2EF7}" type="presParOf" srcId="{1BAB57BC-B805-40CC-9679-6639A8F587BC}" destId="{4094B7AF-31B1-4AFB-9017-A456A89DD169}" srcOrd="0" destOrd="0" presId="urn:microsoft.com/office/officeart/2005/8/layout/hierarchy2"/>
    <dgm:cxn modelId="{3C2F6248-AD48-48E9-B401-78590EBDDB5C}" type="presParOf" srcId="{7EBF8A92-A419-4A7A-BAA9-4C9885933DB5}" destId="{F8590EA1-0CE7-4E0A-8B96-04750A3CF546}" srcOrd="3" destOrd="0" presId="urn:microsoft.com/office/officeart/2005/8/layout/hierarchy2"/>
    <dgm:cxn modelId="{979BAC04-BC2C-40B0-854E-173F3C4A7C6A}" type="presParOf" srcId="{F8590EA1-0CE7-4E0A-8B96-04750A3CF546}" destId="{66B51707-BA83-47B3-AD19-F727585B2C95}" srcOrd="0" destOrd="0" presId="urn:microsoft.com/office/officeart/2005/8/layout/hierarchy2"/>
    <dgm:cxn modelId="{51E1150E-E92B-47C0-B451-39864C553558}" type="presParOf" srcId="{F8590EA1-0CE7-4E0A-8B96-04750A3CF546}" destId="{DE86AE22-AA89-4D84-AFF0-E690A4351206}" srcOrd="1" destOrd="0" presId="urn:microsoft.com/office/officeart/2005/8/layout/hierarchy2"/>
    <dgm:cxn modelId="{9C9C61A9-FDCF-4D4B-B711-B6E9A5EB3E00}" type="presParOf" srcId="{DE86AE22-AA89-4D84-AFF0-E690A4351206}" destId="{9ADBA6A1-E10F-4559-AA96-48A9861CDDEA}" srcOrd="0" destOrd="0" presId="urn:microsoft.com/office/officeart/2005/8/layout/hierarchy2"/>
    <dgm:cxn modelId="{B8FAD19A-5E3A-4F0B-806D-1422A44D2FF4}" type="presParOf" srcId="{9ADBA6A1-E10F-4559-AA96-48A9861CDDEA}" destId="{7D584F75-A299-46A4-AB6D-855702BE186E}" srcOrd="0" destOrd="0" presId="urn:microsoft.com/office/officeart/2005/8/layout/hierarchy2"/>
    <dgm:cxn modelId="{874E4D58-5DB2-46CA-9FDE-83B1F1ECB2C8}" type="presParOf" srcId="{DE86AE22-AA89-4D84-AFF0-E690A4351206}" destId="{8A8CA726-B142-459B-B586-ED8401594DFF}" srcOrd="1" destOrd="0" presId="urn:microsoft.com/office/officeart/2005/8/layout/hierarchy2"/>
    <dgm:cxn modelId="{85C6C68A-77E7-45D8-801D-2744582A5149}" type="presParOf" srcId="{8A8CA726-B142-459B-B586-ED8401594DFF}" destId="{93107F03-432B-4672-9BBF-5F1409A3C448}" srcOrd="0" destOrd="0" presId="urn:microsoft.com/office/officeart/2005/8/layout/hierarchy2"/>
    <dgm:cxn modelId="{F458B291-3304-4480-A24F-50EDC147D83E}" type="presParOf" srcId="{8A8CA726-B142-459B-B586-ED8401594DFF}" destId="{70C5FB8D-FE11-4E88-8CCC-AFFC031854B9}" srcOrd="1" destOrd="0" presId="urn:microsoft.com/office/officeart/2005/8/layout/hierarchy2"/>
    <dgm:cxn modelId="{046B4C19-2823-4654-8123-D94F7F4A6087}" type="presParOf" srcId="{7EBF8A92-A419-4A7A-BAA9-4C9885933DB5}" destId="{0C0C5502-EBC3-4CA7-9BDF-3F5EE2A8AF7C}" srcOrd="4" destOrd="0" presId="urn:microsoft.com/office/officeart/2005/8/layout/hierarchy2"/>
    <dgm:cxn modelId="{615A7646-1177-4CB8-97D1-BADC9E6A9DF1}" type="presParOf" srcId="{0C0C5502-EBC3-4CA7-9BDF-3F5EE2A8AF7C}" destId="{7B48A01A-42AE-4456-BB3A-F2E962E9BD3A}" srcOrd="0" destOrd="0" presId="urn:microsoft.com/office/officeart/2005/8/layout/hierarchy2"/>
    <dgm:cxn modelId="{79A7551D-7030-4B8E-9D39-8119849FDE36}" type="presParOf" srcId="{7EBF8A92-A419-4A7A-BAA9-4C9885933DB5}" destId="{9246F5BF-128C-4036-B713-FA9E724D93A8}" srcOrd="5" destOrd="0" presId="urn:microsoft.com/office/officeart/2005/8/layout/hierarchy2"/>
    <dgm:cxn modelId="{47C5D015-FF64-49FC-BA40-CD490E24707D}" type="presParOf" srcId="{9246F5BF-128C-4036-B713-FA9E724D93A8}" destId="{50531140-9B2F-4579-80BD-1C713B74F6E7}" srcOrd="0" destOrd="0" presId="urn:microsoft.com/office/officeart/2005/8/layout/hierarchy2"/>
    <dgm:cxn modelId="{8F47039A-B64C-4D78-9100-E8AE369D5312}" type="presParOf" srcId="{9246F5BF-128C-4036-B713-FA9E724D93A8}" destId="{5B4AC089-9004-4C5A-A4B4-FFD77E7422E2}" srcOrd="1" destOrd="0" presId="urn:microsoft.com/office/officeart/2005/8/layout/hierarchy2"/>
    <dgm:cxn modelId="{44DE0F42-5059-44A0-826C-62B424C3393F}" type="presParOf" srcId="{5B4AC089-9004-4C5A-A4B4-FFD77E7422E2}" destId="{D8CDF5A1-AA7E-4EDE-AF8C-DCC55BB1FCC1}" srcOrd="0" destOrd="0" presId="urn:microsoft.com/office/officeart/2005/8/layout/hierarchy2"/>
    <dgm:cxn modelId="{6D3BE908-4DD8-4B2C-8F25-FA00A2482E34}" type="presParOf" srcId="{D8CDF5A1-AA7E-4EDE-AF8C-DCC55BB1FCC1}" destId="{47CFF3ED-8233-4D4D-AE05-C31EF8FC22C9}" srcOrd="0" destOrd="0" presId="urn:microsoft.com/office/officeart/2005/8/layout/hierarchy2"/>
    <dgm:cxn modelId="{BA3467B0-F831-4F7B-9A08-F56B584A9138}" type="presParOf" srcId="{5B4AC089-9004-4C5A-A4B4-FFD77E7422E2}" destId="{CE71DFD1-C52B-44E9-A27B-691F2BA76EB5}" srcOrd="1" destOrd="0" presId="urn:microsoft.com/office/officeart/2005/8/layout/hierarchy2"/>
    <dgm:cxn modelId="{7CFC4BF0-DBD3-4194-9A29-D40951CCD495}" type="presParOf" srcId="{CE71DFD1-C52B-44E9-A27B-691F2BA76EB5}" destId="{DED6FB85-E750-4F67-A23C-48C391747B23}" srcOrd="0" destOrd="0" presId="urn:microsoft.com/office/officeart/2005/8/layout/hierarchy2"/>
    <dgm:cxn modelId="{DB7D1E6F-D232-45FF-8302-62F4A4729BB1}" type="presParOf" srcId="{CE71DFD1-C52B-44E9-A27B-691F2BA76EB5}" destId="{C30A7FBD-62C4-443A-99F1-2820E10713A2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BADCF335-654D-440C-B8E0-4605EFE1FE0F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47286F35-E9B1-424F-8B02-F25D8B361C93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EMELY</a:t>
          </a:r>
          <a:endParaRPr lang="es-ES" dirty="0"/>
        </a:p>
      </dgm:t>
    </dgm:pt>
    <dgm:pt modelId="{2B03EE17-6299-49E9-BA27-952AF4E6B2CD}" type="parTrans" cxnId="{D415AB42-12B0-4838-B7A9-8A582059AD61}">
      <dgm:prSet/>
      <dgm:spPr/>
      <dgm:t>
        <a:bodyPr/>
        <a:lstStyle/>
        <a:p>
          <a:endParaRPr lang="es-ES"/>
        </a:p>
      </dgm:t>
    </dgm:pt>
    <dgm:pt modelId="{45A13544-643C-4ED6-9786-5FD032B67122}" type="sibTrans" cxnId="{D415AB42-12B0-4838-B7A9-8A582059AD61}">
      <dgm:prSet/>
      <dgm:spPr/>
      <dgm:t>
        <a:bodyPr/>
        <a:lstStyle/>
        <a:p>
          <a:endParaRPr lang="es-ES"/>
        </a:p>
      </dgm:t>
    </dgm:pt>
    <dgm:pt modelId="{7B9EE2DB-EA46-43FE-943E-34D29B600F03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MERF</a:t>
          </a:r>
          <a:endParaRPr lang="es-ES" dirty="0"/>
        </a:p>
      </dgm:t>
    </dgm:pt>
    <dgm:pt modelId="{7464579A-5DD9-4454-9FE3-5672269F0138}" type="parTrans" cxnId="{758D59D9-93FF-41AE-B28E-092243A9DDAF}">
      <dgm:prSet/>
      <dgm:spPr/>
      <dgm:t>
        <a:bodyPr/>
        <a:lstStyle/>
        <a:p>
          <a:endParaRPr lang="es-ES"/>
        </a:p>
      </dgm:t>
    </dgm:pt>
    <dgm:pt modelId="{DF888FC3-D4FA-44C4-B9EB-3EF482C7DA68}" type="sibTrans" cxnId="{758D59D9-93FF-41AE-B28E-092243A9DDAF}">
      <dgm:prSet/>
      <dgm:spPr/>
      <dgm:t>
        <a:bodyPr/>
        <a:lstStyle/>
        <a:p>
          <a:endParaRPr lang="es-ES"/>
        </a:p>
      </dgm:t>
    </dgm:pt>
    <dgm:pt modelId="{8AC6DD6F-B962-43CA-93E9-82B68AD056FC}">
      <dgm:prSet phldrT="[Texto]" phldr="0"/>
      <dgm:spPr/>
      <dgm:t>
        <a:bodyPr/>
        <a:lstStyle/>
        <a:p>
          <a:pPr rtl="0"/>
          <a:r>
            <a:rPr lang="es-ES" dirty="0">
              <a:latin typeface="Helvetica"/>
              <a:cs typeface="Helvetica"/>
            </a:rPr>
            <a:t> SIN ACTIVIDADES</a:t>
          </a:r>
          <a:endParaRPr lang="es-ES" dirty="0"/>
        </a:p>
      </dgm:t>
    </dgm:pt>
    <dgm:pt modelId="{74E9A38C-9687-4E9B-BAE7-8A7061501BC6}" type="parTrans" cxnId="{9D6F6006-061B-473A-8EB4-96EF1594B9F2}">
      <dgm:prSet/>
      <dgm:spPr/>
      <dgm:t>
        <a:bodyPr/>
        <a:lstStyle/>
        <a:p>
          <a:endParaRPr lang="es-ES"/>
        </a:p>
      </dgm:t>
    </dgm:pt>
    <dgm:pt modelId="{EDCF41B6-F703-44AD-8514-D69E6022ABCE}" type="sibTrans" cxnId="{9D6F6006-061B-473A-8EB4-96EF1594B9F2}">
      <dgm:prSet/>
      <dgm:spPr/>
      <dgm:t>
        <a:bodyPr/>
        <a:lstStyle/>
        <a:p>
          <a:endParaRPr lang="es-ES"/>
        </a:p>
      </dgm:t>
    </dgm:pt>
    <dgm:pt modelId="{FB6C047B-42AD-4DFD-B35F-25CD86358546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MINED</a:t>
          </a:r>
          <a:endParaRPr lang="es-ES" dirty="0"/>
        </a:p>
      </dgm:t>
    </dgm:pt>
    <dgm:pt modelId="{71E046BF-E1DA-459A-9D18-F5A4332775B2}" type="parTrans" cxnId="{315C7571-7DA4-4420-AA24-B51622A48D84}">
      <dgm:prSet/>
      <dgm:spPr/>
      <dgm:t>
        <a:bodyPr/>
        <a:lstStyle/>
        <a:p>
          <a:endParaRPr lang="es-ES"/>
        </a:p>
      </dgm:t>
    </dgm:pt>
    <dgm:pt modelId="{B763D707-4DC2-44C9-8004-91DEB699C572}" type="sibTrans" cxnId="{315C7571-7DA4-4420-AA24-B51622A48D84}">
      <dgm:prSet/>
      <dgm:spPr/>
      <dgm:t>
        <a:bodyPr/>
        <a:lstStyle/>
        <a:p>
          <a:endParaRPr lang="es-ES"/>
        </a:p>
      </dgm:t>
    </dgm:pt>
    <dgm:pt modelId="{5E19889A-2FF2-409B-A712-F12A464762EA}">
      <dgm:prSet phldrT="[Texto]" phldr="0"/>
      <dgm:spPr/>
      <dgm:t>
        <a:bodyPr/>
        <a:lstStyle/>
        <a:p>
          <a:pPr rtl="0"/>
          <a:r>
            <a:rPr lang="es-ES" dirty="0">
              <a:latin typeface="Helvetica"/>
              <a:cs typeface="Helvetica"/>
            </a:rPr>
            <a:t>APP BIMINED</a:t>
          </a:r>
          <a:endParaRPr lang="es-ES" dirty="0"/>
        </a:p>
      </dgm:t>
    </dgm:pt>
    <dgm:pt modelId="{7948DFA4-F38B-4067-AFFA-3EDDBCE21AE6}" type="parTrans" cxnId="{9F1123D5-FF47-4091-8AB6-E1DDF610C84D}">
      <dgm:prSet/>
      <dgm:spPr/>
      <dgm:t>
        <a:bodyPr/>
        <a:lstStyle/>
        <a:p>
          <a:endParaRPr lang="es-ES"/>
        </a:p>
      </dgm:t>
    </dgm:pt>
    <dgm:pt modelId="{6CD21BD7-4EC0-4D9D-B8C5-D3646789AD06}" type="sibTrans" cxnId="{9F1123D5-FF47-4091-8AB6-E1DDF610C84D}">
      <dgm:prSet/>
      <dgm:spPr/>
      <dgm:t>
        <a:bodyPr/>
        <a:lstStyle/>
        <a:p>
          <a:endParaRPr lang="es-ES"/>
        </a:p>
      </dgm:t>
    </dgm:pt>
    <dgm:pt modelId="{C5300F43-D8B1-43B9-B269-B569D2589E1A}">
      <dgm:prSet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MIVISUALIZATION</a:t>
          </a:r>
        </a:p>
      </dgm:t>
    </dgm:pt>
    <dgm:pt modelId="{6C28AE68-2062-4489-9CEC-4AF1EFED1C83}" type="parTrans" cxnId="{3381EDF4-7605-40B3-ACEC-54E846896279}">
      <dgm:prSet/>
      <dgm:spPr/>
      <dgm:t>
        <a:bodyPr/>
        <a:lstStyle/>
        <a:p>
          <a:endParaRPr lang="es-ES"/>
        </a:p>
      </dgm:t>
    </dgm:pt>
    <dgm:pt modelId="{019AADAD-CF93-4DD0-9D63-77E6EFF6CF5D}" type="sibTrans" cxnId="{3381EDF4-7605-40B3-ACEC-54E846896279}">
      <dgm:prSet/>
      <dgm:spPr/>
    </dgm:pt>
    <dgm:pt modelId="{8D04EDCD-2EE8-45CF-81E1-338A1679EE3A}">
      <dgm:prSet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SOPORTE</a:t>
          </a:r>
        </a:p>
      </dgm:t>
    </dgm:pt>
    <dgm:pt modelId="{5A89E9EA-92AA-47EB-BAA2-226C264CBE9B}" type="parTrans" cxnId="{09AA28A6-DE99-478A-8434-5B603FED5CFF}">
      <dgm:prSet/>
      <dgm:spPr/>
      <dgm:t>
        <a:bodyPr/>
        <a:lstStyle/>
        <a:p>
          <a:endParaRPr lang="es-ES"/>
        </a:p>
      </dgm:t>
    </dgm:pt>
    <dgm:pt modelId="{CC6671C8-06B8-4AAF-B524-BC6010397A99}" type="sibTrans" cxnId="{09AA28A6-DE99-478A-8434-5B603FED5CFF}">
      <dgm:prSet/>
      <dgm:spPr/>
    </dgm:pt>
    <dgm:pt modelId="{69376969-0127-4C38-9774-5D4B74841380}" type="pres">
      <dgm:prSet presAssocID="{BADCF335-654D-440C-B8E0-4605EFE1FE0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9F31D87-470C-432F-BC88-DE6DCB9F0382}" type="pres">
      <dgm:prSet presAssocID="{47286F35-E9B1-424F-8B02-F25D8B361C93}" presName="root1" presStyleCnt="0"/>
      <dgm:spPr/>
    </dgm:pt>
    <dgm:pt modelId="{F54EA502-D312-4759-B024-123BBF7E6FAF}" type="pres">
      <dgm:prSet presAssocID="{47286F35-E9B1-424F-8B02-F25D8B361C93}" presName="LevelOneTextNode" presStyleLbl="node0" presStyleIdx="0" presStyleCnt="1">
        <dgm:presLayoutVars>
          <dgm:chPref val="3"/>
        </dgm:presLayoutVars>
      </dgm:prSet>
      <dgm:spPr/>
    </dgm:pt>
    <dgm:pt modelId="{7EBF8A92-A419-4A7A-BAA9-4C9885933DB5}" type="pres">
      <dgm:prSet presAssocID="{47286F35-E9B1-424F-8B02-F25D8B361C93}" presName="level2hierChild" presStyleCnt="0"/>
      <dgm:spPr/>
    </dgm:pt>
    <dgm:pt modelId="{D61B20D6-016E-4E79-A715-FE05AEAC64B3}" type="pres">
      <dgm:prSet presAssocID="{6C28AE68-2062-4489-9CEC-4AF1EFED1C83}" presName="conn2-1" presStyleLbl="parChTrans1D2" presStyleIdx="0" presStyleCnt="3"/>
      <dgm:spPr/>
    </dgm:pt>
    <dgm:pt modelId="{55BFBC20-5317-435E-9347-94992905D31B}" type="pres">
      <dgm:prSet presAssocID="{6C28AE68-2062-4489-9CEC-4AF1EFED1C83}" presName="connTx" presStyleLbl="parChTrans1D2" presStyleIdx="0" presStyleCnt="3"/>
      <dgm:spPr/>
    </dgm:pt>
    <dgm:pt modelId="{A3A9621A-DFF7-4A4C-B8BE-F9125E92BD2F}" type="pres">
      <dgm:prSet presAssocID="{C5300F43-D8B1-43B9-B269-B569D2589E1A}" presName="root2" presStyleCnt="0"/>
      <dgm:spPr/>
    </dgm:pt>
    <dgm:pt modelId="{C48113CA-3F7A-4377-8DE5-EAE20CFEFF61}" type="pres">
      <dgm:prSet presAssocID="{C5300F43-D8B1-43B9-B269-B569D2589E1A}" presName="LevelTwoTextNode" presStyleLbl="node2" presStyleIdx="0" presStyleCnt="3">
        <dgm:presLayoutVars>
          <dgm:chPref val="3"/>
        </dgm:presLayoutVars>
      </dgm:prSet>
      <dgm:spPr/>
    </dgm:pt>
    <dgm:pt modelId="{435C63E4-E5D5-4B2F-B2AF-4178488C58E9}" type="pres">
      <dgm:prSet presAssocID="{C5300F43-D8B1-43B9-B269-B569D2589E1A}" presName="level3hierChild" presStyleCnt="0"/>
      <dgm:spPr/>
    </dgm:pt>
    <dgm:pt modelId="{A0DDDAF0-022E-44D2-9384-566CD9D67546}" type="pres">
      <dgm:prSet presAssocID="{5A89E9EA-92AA-47EB-BAA2-226C264CBE9B}" presName="conn2-1" presStyleLbl="parChTrans1D3" presStyleIdx="0" presStyleCnt="3"/>
      <dgm:spPr/>
    </dgm:pt>
    <dgm:pt modelId="{F712F969-9908-400B-90DA-751FC7389638}" type="pres">
      <dgm:prSet presAssocID="{5A89E9EA-92AA-47EB-BAA2-226C264CBE9B}" presName="connTx" presStyleLbl="parChTrans1D3" presStyleIdx="0" presStyleCnt="3"/>
      <dgm:spPr/>
    </dgm:pt>
    <dgm:pt modelId="{0046F04C-CA49-4761-8920-D7BE7967EB70}" type="pres">
      <dgm:prSet presAssocID="{8D04EDCD-2EE8-45CF-81E1-338A1679EE3A}" presName="root2" presStyleCnt="0"/>
      <dgm:spPr/>
    </dgm:pt>
    <dgm:pt modelId="{47A3BB87-47B1-47E9-AC04-B2C7D45BCC1F}" type="pres">
      <dgm:prSet presAssocID="{8D04EDCD-2EE8-45CF-81E1-338A1679EE3A}" presName="LevelTwoTextNode" presStyleLbl="node3" presStyleIdx="0" presStyleCnt="3">
        <dgm:presLayoutVars>
          <dgm:chPref val="3"/>
        </dgm:presLayoutVars>
      </dgm:prSet>
      <dgm:spPr/>
    </dgm:pt>
    <dgm:pt modelId="{EAB7FBDE-52F0-4B83-83BB-DBCECD62327D}" type="pres">
      <dgm:prSet presAssocID="{8D04EDCD-2EE8-45CF-81E1-338A1679EE3A}" presName="level3hierChild" presStyleCnt="0"/>
      <dgm:spPr/>
    </dgm:pt>
    <dgm:pt modelId="{1BAB57BC-B805-40CC-9679-6639A8F587BC}" type="pres">
      <dgm:prSet presAssocID="{7464579A-5DD9-4454-9FE3-5672269F0138}" presName="conn2-1" presStyleLbl="parChTrans1D2" presStyleIdx="1" presStyleCnt="3"/>
      <dgm:spPr/>
    </dgm:pt>
    <dgm:pt modelId="{4094B7AF-31B1-4AFB-9017-A456A89DD169}" type="pres">
      <dgm:prSet presAssocID="{7464579A-5DD9-4454-9FE3-5672269F0138}" presName="connTx" presStyleLbl="parChTrans1D2" presStyleIdx="1" presStyleCnt="3"/>
      <dgm:spPr/>
    </dgm:pt>
    <dgm:pt modelId="{F8590EA1-0CE7-4E0A-8B96-04750A3CF546}" type="pres">
      <dgm:prSet presAssocID="{7B9EE2DB-EA46-43FE-943E-34D29B600F03}" presName="root2" presStyleCnt="0"/>
      <dgm:spPr/>
    </dgm:pt>
    <dgm:pt modelId="{66B51707-BA83-47B3-AD19-F727585B2C95}" type="pres">
      <dgm:prSet presAssocID="{7B9EE2DB-EA46-43FE-943E-34D29B600F03}" presName="LevelTwoTextNode" presStyleLbl="node2" presStyleIdx="1" presStyleCnt="3">
        <dgm:presLayoutVars>
          <dgm:chPref val="3"/>
        </dgm:presLayoutVars>
      </dgm:prSet>
      <dgm:spPr/>
    </dgm:pt>
    <dgm:pt modelId="{DE86AE22-AA89-4D84-AFF0-E690A4351206}" type="pres">
      <dgm:prSet presAssocID="{7B9EE2DB-EA46-43FE-943E-34D29B600F03}" presName="level3hierChild" presStyleCnt="0"/>
      <dgm:spPr/>
    </dgm:pt>
    <dgm:pt modelId="{9ADBA6A1-E10F-4559-AA96-48A9861CDDEA}" type="pres">
      <dgm:prSet presAssocID="{74E9A38C-9687-4E9B-BAE7-8A7061501BC6}" presName="conn2-1" presStyleLbl="parChTrans1D3" presStyleIdx="1" presStyleCnt="3"/>
      <dgm:spPr/>
    </dgm:pt>
    <dgm:pt modelId="{7D584F75-A299-46A4-AB6D-855702BE186E}" type="pres">
      <dgm:prSet presAssocID="{74E9A38C-9687-4E9B-BAE7-8A7061501BC6}" presName="connTx" presStyleLbl="parChTrans1D3" presStyleIdx="1" presStyleCnt="3"/>
      <dgm:spPr/>
    </dgm:pt>
    <dgm:pt modelId="{8A8CA726-B142-459B-B586-ED8401594DFF}" type="pres">
      <dgm:prSet presAssocID="{8AC6DD6F-B962-43CA-93E9-82B68AD056FC}" presName="root2" presStyleCnt="0"/>
      <dgm:spPr/>
    </dgm:pt>
    <dgm:pt modelId="{93107F03-432B-4672-9BBF-5F1409A3C448}" type="pres">
      <dgm:prSet presAssocID="{8AC6DD6F-B962-43CA-93E9-82B68AD056FC}" presName="LevelTwoTextNode" presStyleLbl="node3" presStyleIdx="1" presStyleCnt="3">
        <dgm:presLayoutVars>
          <dgm:chPref val="3"/>
        </dgm:presLayoutVars>
      </dgm:prSet>
      <dgm:spPr/>
    </dgm:pt>
    <dgm:pt modelId="{70C5FB8D-FE11-4E88-8CCC-AFFC031854B9}" type="pres">
      <dgm:prSet presAssocID="{8AC6DD6F-B962-43CA-93E9-82B68AD056FC}" presName="level3hierChild" presStyleCnt="0"/>
      <dgm:spPr/>
    </dgm:pt>
    <dgm:pt modelId="{0C0C5502-EBC3-4CA7-9BDF-3F5EE2A8AF7C}" type="pres">
      <dgm:prSet presAssocID="{71E046BF-E1DA-459A-9D18-F5A4332775B2}" presName="conn2-1" presStyleLbl="parChTrans1D2" presStyleIdx="2" presStyleCnt="3"/>
      <dgm:spPr/>
    </dgm:pt>
    <dgm:pt modelId="{7B48A01A-42AE-4456-BB3A-F2E962E9BD3A}" type="pres">
      <dgm:prSet presAssocID="{71E046BF-E1DA-459A-9D18-F5A4332775B2}" presName="connTx" presStyleLbl="parChTrans1D2" presStyleIdx="2" presStyleCnt="3"/>
      <dgm:spPr/>
    </dgm:pt>
    <dgm:pt modelId="{9246F5BF-128C-4036-B713-FA9E724D93A8}" type="pres">
      <dgm:prSet presAssocID="{FB6C047B-42AD-4DFD-B35F-25CD86358546}" presName="root2" presStyleCnt="0"/>
      <dgm:spPr/>
    </dgm:pt>
    <dgm:pt modelId="{50531140-9B2F-4579-80BD-1C713B74F6E7}" type="pres">
      <dgm:prSet presAssocID="{FB6C047B-42AD-4DFD-B35F-25CD86358546}" presName="LevelTwoTextNode" presStyleLbl="node2" presStyleIdx="2" presStyleCnt="3">
        <dgm:presLayoutVars>
          <dgm:chPref val="3"/>
        </dgm:presLayoutVars>
      </dgm:prSet>
      <dgm:spPr/>
    </dgm:pt>
    <dgm:pt modelId="{5B4AC089-9004-4C5A-A4B4-FFD77E7422E2}" type="pres">
      <dgm:prSet presAssocID="{FB6C047B-42AD-4DFD-B35F-25CD86358546}" presName="level3hierChild" presStyleCnt="0"/>
      <dgm:spPr/>
    </dgm:pt>
    <dgm:pt modelId="{D8CDF5A1-AA7E-4EDE-AF8C-DCC55BB1FCC1}" type="pres">
      <dgm:prSet presAssocID="{7948DFA4-F38B-4067-AFFA-3EDDBCE21AE6}" presName="conn2-1" presStyleLbl="parChTrans1D3" presStyleIdx="2" presStyleCnt="3"/>
      <dgm:spPr/>
    </dgm:pt>
    <dgm:pt modelId="{47CFF3ED-8233-4D4D-AE05-C31EF8FC22C9}" type="pres">
      <dgm:prSet presAssocID="{7948DFA4-F38B-4067-AFFA-3EDDBCE21AE6}" presName="connTx" presStyleLbl="parChTrans1D3" presStyleIdx="2" presStyleCnt="3"/>
      <dgm:spPr/>
    </dgm:pt>
    <dgm:pt modelId="{CE71DFD1-C52B-44E9-A27B-691F2BA76EB5}" type="pres">
      <dgm:prSet presAssocID="{5E19889A-2FF2-409B-A712-F12A464762EA}" presName="root2" presStyleCnt="0"/>
      <dgm:spPr/>
    </dgm:pt>
    <dgm:pt modelId="{DED6FB85-E750-4F67-A23C-48C391747B23}" type="pres">
      <dgm:prSet presAssocID="{5E19889A-2FF2-409B-A712-F12A464762EA}" presName="LevelTwoTextNode" presStyleLbl="node3" presStyleIdx="2" presStyleCnt="3">
        <dgm:presLayoutVars>
          <dgm:chPref val="3"/>
        </dgm:presLayoutVars>
      </dgm:prSet>
      <dgm:spPr/>
    </dgm:pt>
    <dgm:pt modelId="{C30A7FBD-62C4-443A-99F1-2820E10713A2}" type="pres">
      <dgm:prSet presAssocID="{5E19889A-2FF2-409B-A712-F12A464762EA}" presName="level3hierChild" presStyleCnt="0"/>
      <dgm:spPr/>
    </dgm:pt>
  </dgm:ptLst>
  <dgm:cxnLst>
    <dgm:cxn modelId="{8FEFEB05-D473-4ABD-8DA7-11A81BA424EC}" type="presOf" srcId="{BADCF335-654D-440C-B8E0-4605EFE1FE0F}" destId="{69376969-0127-4C38-9774-5D4B74841380}" srcOrd="0" destOrd="0" presId="urn:microsoft.com/office/officeart/2005/8/layout/hierarchy2"/>
    <dgm:cxn modelId="{9D6F6006-061B-473A-8EB4-96EF1594B9F2}" srcId="{7B9EE2DB-EA46-43FE-943E-34D29B600F03}" destId="{8AC6DD6F-B962-43CA-93E9-82B68AD056FC}" srcOrd="0" destOrd="0" parTransId="{74E9A38C-9687-4E9B-BAE7-8A7061501BC6}" sibTransId="{EDCF41B6-F703-44AD-8514-D69E6022ABCE}"/>
    <dgm:cxn modelId="{B2D44613-D700-48E1-AA30-D4A9027EAE15}" type="presOf" srcId="{47286F35-E9B1-424F-8B02-F25D8B361C93}" destId="{F54EA502-D312-4759-B024-123BBF7E6FAF}" srcOrd="0" destOrd="0" presId="urn:microsoft.com/office/officeart/2005/8/layout/hierarchy2"/>
    <dgm:cxn modelId="{32E66019-55BB-4DDB-95A1-593A2BC1DE78}" type="presOf" srcId="{7464579A-5DD9-4454-9FE3-5672269F0138}" destId="{4094B7AF-31B1-4AFB-9017-A456A89DD169}" srcOrd="1" destOrd="0" presId="urn:microsoft.com/office/officeart/2005/8/layout/hierarchy2"/>
    <dgm:cxn modelId="{A963292F-8C21-494F-BE63-1FE8B1B9041E}" type="presOf" srcId="{6C28AE68-2062-4489-9CEC-4AF1EFED1C83}" destId="{D61B20D6-016E-4E79-A715-FE05AEAC64B3}" srcOrd="0" destOrd="0" presId="urn:microsoft.com/office/officeart/2005/8/layout/hierarchy2"/>
    <dgm:cxn modelId="{D2144B31-07C6-4B0E-BA90-9C2BD9843EA8}" type="presOf" srcId="{5A89E9EA-92AA-47EB-BAA2-226C264CBE9B}" destId="{F712F969-9908-400B-90DA-751FC7389638}" srcOrd="1" destOrd="0" presId="urn:microsoft.com/office/officeart/2005/8/layout/hierarchy2"/>
    <dgm:cxn modelId="{D415AB42-12B0-4838-B7A9-8A582059AD61}" srcId="{BADCF335-654D-440C-B8E0-4605EFE1FE0F}" destId="{47286F35-E9B1-424F-8B02-F25D8B361C93}" srcOrd="0" destOrd="0" parTransId="{2B03EE17-6299-49E9-BA27-952AF4E6B2CD}" sibTransId="{45A13544-643C-4ED6-9786-5FD032B67122}"/>
    <dgm:cxn modelId="{6DEB3846-CB45-4E21-BCDF-CB663B933EF3}" type="presOf" srcId="{74E9A38C-9687-4E9B-BAE7-8A7061501BC6}" destId="{9ADBA6A1-E10F-4559-AA96-48A9861CDDEA}" srcOrd="0" destOrd="0" presId="urn:microsoft.com/office/officeart/2005/8/layout/hierarchy2"/>
    <dgm:cxn modelId="{427C9D6A-FB23-4958-9972-9BC9791456B6}" type="presOf" srcId="{5E19889A-2FF2-409B-A712-F12A464762EA}" destId="{DED6FB85-E750-4F67-A23C-48C391747B23}" srcOrd="0" destOrd="0" presId="urn:microsoft.com/office/officeart/2005/8/layout/hierarchy2"/>
    <dgm:cxn modelId="{65486A6E-478B-4987-8984-78E9A8831A73}" type="presOf" srcId="{6C28AE68-2062-4489-9CEC-4AF1EFED1C83}" destId="{55BFBC20-5317-435E-9347-94992905D31B}" srcOrd="1" destOrd="0" presId="urn:microsoft.com/office/officeart/2005/8/layout/hierarchy2"/>
    <dgm:cxn modelId="{315C7571-7DA4-4420-AA24-B51622A48D84}" srcId="{47286F35-E9B1-424F-8B02-F25D8B361C93}" destId="{FB6C047B-42AD-4DFD-B35F-25CD86358546}" srcOrd="2" destOrd="0" parTransId="{71E046BF-E1DA-459A-9D18-F5A4332775B2}" sibTransId="{B763D707-4DC2-44C9-8004-91DEB699C572}"/>
    <dgm:cxn modelId="{D536B874-C81C-46D4-810C-C0388A32DEFB}" type="presOf" srcId="{7464579A-5DD9-4454-9FE3-5672269F0138}" destId="{1BAB57BC-B805-40CC-9679-6639A8F587BC}" srcOrd="0" destOrd="0" presId="urn:microsoft.com/office/officeart/2005/8/layout/hierarchy2"/>
    <dgm:cxn modelId="{1B4FF385-E963-490C-9DB6-5F4D1062D85F}" type="presOf" srcId="{7B9EE2DB-EA46-43FE-943E-34D29B600F03}" destId="{66B51707-BA83-47B3-AD19-F727585B2C95}" srcOrd="0" destOrd="0" presId="urn:microsoft.com/office/officeart/2005/8/layout/hierarchy2"/>
    <dgm:cxn modelId="{C4B96698-75E7-4B5C-B81A-EDECF14357EF}" type="presOf" srcId="{8AC6DD6F-B962-43CA-93E9-82B68AD056FC}" destId="{93107F03-432B-4672-9BBF-5F1409A3C448}" srcOrd="0" destOrd="0" presId="urn:microsoft.com/office/officeart/2005/8/layout/hierarchy2"/>
    <dgm:cxn modelId="{0945EBA2-E6BA-459D-9BE9-896D2CE68F04}" type="presOf" srcId="{C5300F43-D8B1-43B9-B269-B569D2589E1A}" destId="{C48113CA-3F7A-4377-8DE5-EAE20CFEFF61}" srcOrd="0" destOrd="0" presId="urn:microsoft.com/office/officeart/2005/8/layout/hierarchy2"/>
    <dgm:cxn modelId="{67713BA4-B65B-46CB-B54E-7316DE68FE2F}" type="presOf" srcId="{7948DFA4-F38B-4067-AFFA-3EDDBCE21AE6}" destId="{D8CDF5A1-AA7E-4EDE-AF8C-DCC55BB1FCC1}" srcOrd="0" destOrd="0" presId="urn:microsoft.com/office/officeart/2005/8/layout/hierarchy2"/>
    <dgm:cxn modelId="{09AA28A6-DE99-478A-8434-5B603FED5CFF}" srcId="{C5300F43-D8B1-43B9-B269-B569D2589E1A}" destId="{8D04EDCD-2EE8-45CF-81E1-338A1679EE3A}" srcOrd="0" destOrd="0" parTransId="{5A89E9EA-92AA-47EB-BAA2-226C264CBE9B}" sibTransId="{CC6671C8-06B8-4AAF-B524-BC6010397A99}"/>
    <dgm:cxn modelId="{A99F99AE-86E5-4A0C-A3B8-9418EE95B196}" type="presOf" srcId="{8D04EDCD-2EE8-45CF-81E1-338A1679EE3A}" destId="{47A3BB87-47B1-47E9-AC04-B2C7D45BCC1F}" srcOrd="0" destOrd="0" presId="urn:microsoft.com/office/officeart/2005/8/layout/hierarchy2"/>
    <dgm:cxn modelId="{496E04B3-9161-4252-8E04-26BCD0639D8D}" type="presOf" srcId="{5A89E9EA-92AA-47EB-BAA2-226C264CBE9B}" destId="{A0DDDAF0-022E-44D2-9384-566CD9D67546}" srcOrd="0" destOrd="0" presId="urn:microsoft.com/office/officeart/2005/8/layout/hierarchy2"/>
    <dgm:cxn modelId="{9350C8B6-0777-4394-93FA-3DEE4E5C94B6}" type="presOf" srcId="{74E9A38C-9687-4E9B-BAE7-8A7061501BC6}" destId="{7D584F75-A299-46A4-AB6D-855702BE186E}" srcOrd="1" destOrd="0" presId="urn:microsoft.com/office/officeart/2005/8/layout/hierarchy2"/>
    <dgm:cxn modelId="{9F1123D5-FF47-4091-8AB6-E1DDF610C84D}" srcId="{FB6C047B-42AD-4DFD-B35F-25CD86358546}" destId="{5E19889A-2FF2-409B-A712-F12A464762EA}" srcOrd="0" destOrd="0" parTransId="{7948DFA4-F38B-4067-AFFA-3EDDBCE21AE6}" sibTransId="{6CD21BD7-4EC0-4D9D-B8C5-D3646789AD06}"/>
    <dgm:cxn modelId="{AEC074D5-74E5-457C-9771-CDBB18D000C6}" type="presOf" srcId="{71E046BF-E1DA-459A-9D18-F5A4332775B2}" destId="{7B48A01A-42AE-4456-BB3A-F2E962E9BD3A}" srcOrd="1" destOrd="0" presId="urn:microsoft.com/office/officeart/2005/8/layout/hierarchy2"/>
    <dgm:cxn modelId="{758D59D9-93FF-41AE-B28E-092243A9DDAF}" srcId="{47286F35-E9B1-424F-8B02-F25D8B361C93}" destId="{7B9EE2DB-EA46-43FE-943E-34D29B600F03}" srcOrd="1" destOrd="0" parTransId="{7464579A-5DD9-4454-9FE3-5672269F0138}" sibTransId="{DF888FC3-D4FA-44C4-B9EB-3EF482C7DA68}"/>
    <dgm:cxn modelId="{E524C4D9-50F4-4B20-A8A8-357D7C75FBA7}" type="presOf" srcId="{7948DFA4-F38B-4067-AFFA-3EDDBCE21AE6}" destId="{47CFF3ED-8233-4D4D-AE05-C31EF8FC22C9}" srcOrd="1" destOrd="0" presId="urn:microsoft.com/office/officeart/2005/8/layout/hierarchy2"/>
    <dgm:cxn modelId="{47B785EB-B5CB-4B6D-B913-2994750699E3}" type="presOf" srcId="{71E046BF-E1DA-459A-9D18-F5A4332775B2}" destId="{0C0C5502-EBC3-4CA7-9BDF-3F5EE2A8AF7C}" srcOrd="0" destOrd="0" presId="urn:microsoft.com/office/officeart/2005/8/layout/hierarchy2"/>
    <dgm:cxn modelId="{11BA5AF1-95FE-4929-9367-6F63A6E3B62F}" type="presOf" srcId="{FB6C047B-42AD-4DFD-B35F-25CD86358546}" destId="{50531140-9B2F-4579-80BD-1C713B74F6E7}" srcOrd="0" destOrd="0" presId="urn:microsoft.com/office/officeart/2005/8/layout/hierarchy2"/>
    <dgm:cxn modelId="{3381EDF4-7605-40B3-ACEC-54E846896279}" srcId="{47286F35-E9B1-424F-8B02-F25D8B361C93}" destId="{C5300F43-D8B1-43B9-B269-B569D2589E1A}" srcOrd="0" destOrd="0" parTransId="{6C28AE68-2062-4489-9CEC-4AF1EFED1C83}" sibTransId="{019AADAD-CF93-4DD0-9D63-77E6EFF6CF5D}"/>
    <dgm:cxn modelId="{A25F87F5-ED15-43AA-8117-E6D6053D1308}" type="presParOf" srcId="{69376969-0127-4C38-9774-5D4B74841380}" destId="{C9F31D87-470C-432F-BC88-DE6DCB9F0382}" srcOrd="0" destOrd="0" presId="urn:microsoft.com/office/officeart/2005/8/layout/hierarchy2"/>
    <dgm:cxn modelId="{DC1611C0-577B-4FE6-B0C0-A2EC4C87BE5E}" type="presParOf" srcId="{C9F31D87-470C-432F-BC88-DE6DCB9F0382}" destId="{F54EA502-D312-4759-B024-123BBF7E6FAF}" srcOrd="0" destOrd="0" presId="urn:microsoft.com/office/officeart/2005/8/layout/hierarchy2"/>
    <dgm:cxn modelId="{5A84CF34-2DF5-4FC1-90ED-B178CB972C33}" type="presParOf" srcId="{C9F31D87-470C-432F-BC88-DE6DCB9F0382}" destId="{7EBF8A92-A419-4A7A-BAA9-4C9885933DB5}" srcOrd="1" destOrd="0" presId="urn:microsoft.com/office/officeart/2005/8/layout/hierarchy2"/>
    <dgm:cxn modelId="{B63D05CE-D6C5-48C5-A955-F8FD8605A9FD}" type="presParOf" srcId="{7EBF8A92-A419-4A7A-BAA9-4C9885933DB5}" destId="{D61B20D6-016E-4E79-A715-FE05AEAC64B3}" srcOrd="0" destOrd="0" presId="urn:microsoft.com/office/officeart/2005/8/layout/hierarchy2"/>
    <dgm:cxn modelId="{0D9E5C19-1048-47A0-891D-32918ACE0AF7}" type="presParOf" srcId="{D61B20D6-016E-4E79-A715-FE05AEAC64B3}" destId="{55BFBC20-5317-435E-9347-94992905D31B}" srcOrd="0" destOrd="0" presId="urn:microsoft.com/office/officeart/2005/8/layout/hierarchy2"/>
    <dgm:cxn modelId="{840A39EB-7040-4953-853B-C0C5A9003E5B}" type="presParOf" srcId="{7EBF8A92-A419-4A7A-BAA9-4C9885933DB5}" destId="{A3A9621A-DFF7-4A4C-B8BE-F9125E92BD2F}" srcOrd="1" destOrd="0" presId="urn:microsoft.com/office/officeart/2005/8/layout/hierarchy2"/>
    <dgm:cxn modelId="{D8D0BCE3-F05D-498E-9C15-1956B2B6B88C}" type="presParOf" srcId="{A3A9621A-DFF7-4A4C-B8BE-F9125E92BD2F}" destId="{C48113CA-3F7A-4377-8DE5-EAE20CFEFF61}" srcOrd="0" destOrd="0" presId="urn:microsoft.com/office/officeart/2005/8/layout/hierarchy2"/>
    <dgm:cxn modelId="{B27ECE06-AA79-4F5A-881E-E454E5BC7EB3}" type="presParOf" srcId="{A3A9621A-DFF7-4A4C-B8BE-F9125E92BD2F}" destId="{435C63E4-E5D5-4B2F-B2AF-4178488C58E9}" srcOrd="1" destOrd="0" presId="urn:microsoft.com/office/officeart/2005/8/layout/hierarchy2"/>
    <dgm:cxn modelId="{FA16AAB6-5E01-457B-B59F-34B9687ADC01}" type="presParOf" srcId="{435C63E4-E5D5-4B2F-B2AF-4178488C58E9}" destId="{A0DDDAF0-022E-44D2-9384-566CD9D67546}" srcOrd="0" destOrd="0" presId="urn:microsoft.com/office/officeart/2005/8/layout/hierarchy2"/>
    <dgm:cxn modelId="{B45456A8-5E42-404B-B2B9-00EB4EEAF50B}" type="presParOf" srcId="{A0DDDAF0-022E-44D2-9384-566CD9D67546}" destId="{F712F969-9908-400B-90DA-751FC7389638}" srcOrd="0" destOrd="0" presId="urn:microsoft.com/office/officeart/2005/8/layout/hierarchy2"/>
    <dgm:cxn modelId="{2587DF7C-0839-441D-900D-E482EBF0918F}" type="presParOf" srcId="{435C63E4-E5D5-4B2F-B2AF-4178488C58E9}" destId="{0046F04C-CA49-4761-8920-D7BE7967EB70}" srcOrd="1" destOrd="0" presId="urn:microsoft.com/office/officeart/2005/8/layout/hierarchy2"/>
    <dgm:cxn modelId="{907EB258-C32E-476C-A720-CBFE286BA180}" type="presParOf" srcId="{0046F04C-CA49-4761-8920-D7BE7967EB70}" destId="{47A3BB87-47B1-47E9-AC04-B2C7D45BCC1F}" srcOrd="0" destOrd="0" presId="urn:microsoft.com/office/officeart/2005/8/layout/hierarchy2"/>
    <dgm:cxn modelId="{10BC708B-9213-4321-BA17-9538E73000A7}" type="presParOf" srcId="{0046F04C-CA49-4761-8920-D7BE7967EB70}" destId="{EAB7FBDE-52F0-4B83-83BB-DBCECD62327D}" srcOrd="1" destOrd="0" presId="urn:microsoft.com/office/officeart/2005/8/layout/hierarchy2"/>
    <dgm:cxn modelId="{5567E44C-4CB2-4AA8-B9E7-666850161258}" type="presParOf" srcId="{7EBF8A92-A419-4A7A-BAA9-4C9885933DB5}" destId="{1BAB57BC-B805-40CC-9679-6639A8F587BC}" srcOrd="2" destOrd="0" presId="urn:microsoft.com/office/officeart/2005/8/layout/hierarchy2"/>
    <dgm:cxn modelId="{CC1A09F7-CF17-4891-B0A0-2E3F1F888D92}" type="presParOf" srcId="{1BAB57BC-B805-40CC-9679-6639A8F587BC}" destId="{4094B7AF-31B1-4AFB-9017-A456A89DD169}" srcOrd="0" destOrd="0" presId="urn:microsoft.com/office/officeart/2005/8/layout/hierarchy2"/>
    <dgm:cxn modelId="{39A66556-83B3-4482-A0A4-E3050828BADF}" type="presParOf" srcId="{7EBF8A92-A419-4A7A-BAA9-4C9885933DB5}" destId="{F8590EA1-0CE7-4E0A-8B96-04750A3CF546}" srcOrd="3" destOrd="0" presId="urn:microsoft.com/office/officeart/2005/8/layout/hierarchy2"/>
    <dgm:cxn modelId="{254F0FC2-0EF9-4E39-BAC9-F9CB58C0B305}" type="presParOf" srcId="{F8590EA1-0CE7-4E0A-8B96-04750A3CF546}" destId="{66B51707-BA83-47B3-AD19-F727585B2C95}" srcOrd="0" destOrd="0" presId="urn:microsoft.com/office/officeart/2005/8/layout/hierarchy2"/>
    <dgm:cxn modelId="{48E22827-5765-4677-850C-BF77180D5178}" type="presParOf" srcId="{F8590EA1-0CE7-4E0A-8B96-04750A3CF546}" destId="{DE86AE22-AA89-4D84-AFF0-E690A4351206}" srcOrd="1" destOrd="0" presId="urn:microsoft.com/office/officeart/2005/8/layout/hierarchy2"/>
    <dgm:cxn modelId="{23DF1591-4D8E-4E5C-AC16-8E600BFDDDA7}" type="presParOf" srcId="{DE86AE22-AA89-4D84-AFF0-E690A4351206}" destId="{9ADBA6A1-E10F-4559-AA96-48A9861CDDEA}" srcOrd="0" destOrd="0" presId="urn:microsoft.com/office/officeart/2005/8/layout/hierarchy2"/>
    <dgm:cxn modelId="{7D007D76-87E3-429C-917F-74F7911E7664}" type="presParOf" srcId="{9ADBA6A1-E10F-4559-AA96-48A9861CDDEA}" destId="{7D584F75-A299-46A4-AB6D-855702BE186E}" srcOrd="0" destOrd="0" presId="urn:microsoft.com/office/officeart/2005/8/layout/hierarchy2"/>
    <dgm:cxn modelId="{9FDC3CC8-CCD4-4CAB-930A-B7D3B4061F4E}" type="presParOf" srcId="{DE86AE22-AA89-4D84-AFF0-E690A4351206}" destId="{8A8CA726-B142-459B-B586-ED8401594DFF}" srcOrd="1" destOrd="0" presId="urn:microsoft.com/office/officeart/2005/8/layout/hierarchy2"/>
    <dgm:cxn modelId="{0522AA62-96DE-46DD-AAA4-2E9B246AC8D4}" type="presParOf" srcId="{8A8CA726-B142-459B-B586-ED8401594DFF}" destId="{93107F03-432B-4672-9BBF-5F1409A3C448}" srcOrd="0" destOrd="0" presId="urn:microsoft.com/office/officeart/2005/8/layout/hierarchy2"/>
    <dgm:cxn modelId="{281977BB-6EA4-48B9-93DA-B7FF8FD3A909}" type="presParOf" srcId="{8A8CA726-B142-459B-B586-ED8401594DFF}" destId="{70C5FB8D-FE11-4E88-8CCC-AFFC031854B9}" srcOrd="1" destOrd="0" presId="urn:microsoft.com/office/officeart/2005/8/layout/hierarchy2"/>
    <dgm:cxn modelId="{938151CF-CCD2-4A32-B9A5-A65B07D0A988}" type="presParOf" srcId="{7EBF8A92-A419-4A7A-BAA9-4C9885933DB5}" destId="{0C0C5502-EBC3-4CA7-9BDF-3F5EE2A8AF7C}" srcOrd="4" destOrd="0" presId="urn:microsoft.com/office/officeart/2005/8/layout/hierarchy2"/>
    <dgm:cxn modelId="{D2A9DEF4-4986-448E-95F8-27B9074236EB}" type="presParOf" srcId="{0C0C5502-EBC3-4CA7-9BDF-3F5EE2A8AF7C}" destId="{7B48A01A-42AE-4456-BB3A-F2E962E9BD3A}" srcOrd="0" destOrd="0" presId="urn:microsoft.com/office/officeart/2005/8/layout/hierarchy2"/>
    <dgm:cxn modelId="{9E734F6B-8789-4DC6-A91A-F349109EC586}" type="presParOf" srcId="{7EBF8A92-A419-4A7A-BAA9-4C9885933DB5}" destId="{9246F5BF-128C-4036-B713-FA9E724D93A8}" srcOrd="5" destOrd="0" presId="urn:microsoft.com/office/officeart/2005/8/layout/hierarchy2"/>
    <dgm:cxn modelId="{5420BA08-F4C6-414C-A782-0BA798F80B21}" type="presParOf" srcId="{9246F5BF-128C-4036-B713-FA9E724D93A8}" destId="{50531140-9B2F-4579-80BD-1C713B74F6E7}" srcOrd="0" destOrd="0" presId="urn:microsoft.com/office/officeart/2005/8/layout/hierarchy2"/>
    <dgm:cxn modelId="{9EF8D664-FE90-410E-A395-107DE6097B4D}" type="presParOf" srcId="{9246F5BF-128C-4036-B713-FA9E724D93A8}" destId="{5B4AC089-9004-4C5A-A4B4-FFD77E7422E2}" srcOrd="1" destOrd="0" presId="urn:microsoft.com/office/officeart/2005/8/layout/hierarchy2"/>
    <dgm:cxn modelId="{78124750-779C-4733-9479-50E2BAEE5280}" type="presParOf" srcId="{5B4AC089-9004-4C5A-A4B4-FFD77E7422E2}" destId="{D8CDF5A1-AA7E-4EDE-AF8C-DCC55BB1FCC1}" srcOrd="0" destOrd="0" presId="urn:microsoft.com/office/officeart/2005/8/layout/hierarchy2"/>
    <dgm:cxn modelId="{52EA7463-CDBC-473C-8870-6D5BE5AF6209}" type="presParOf" srcId="{D8CDF5A1-AA7E-4EDE-AF8C-DCC55BB1FCC1}" destId="{47CFF3ED-8233-4D4D-AE05-C31EF8FC22C9}" srcOrd="0" destOrd="0" presId="urn:microsoft.com/office/officeart/2005/8/layout/hierarchy2"/>
    <dgm:cxn modelId="{AC212E97-0F5C-41F2-9B5C-AF27351C3FBA}" type="presParOf" srcId="{5B4AC089-9004-4C5A-A4B4-FFD77E7422E2}" destId="{CE71DFD1-C52B-44E9-A27B-691F2BA76EB5}" srcOrd="1" destOrd="0" presId="urn:microsoft.com/office/officeart/2005/8/layout/hierarchy2"/>
    <dgm:cxn modelId="{C16A2964-7B0E-464A-BE9A-2F9DF5EF1F9B}" type="presParOf" srcId="{CE71DFD1-C52B-44E9-A27B-691F2BA76EB5}" destId="{DED6FB85-E750-4F67-A23C-48C391747B23}" srcOrd="0" destOrd="0" presId="urn:microsoft.com/office/officeart/2005/8/layout/hierarchy2"/>
    <dgm:cxn modelId="{A79C275E-5845-462A-A47E-4E598D77FCC2}" type="presParOf" srcId="{CE71DFD1-C52B-44E9-A27B-691F2BA76EB5}" destId="{C30A7FBD-62C4-443A-99F1-2820E10713A2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BADCF335-654D-440C-B8E0-4605EFE1FE0F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47286F35-E9B1-424F-8B02-F25D8B361C93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WALTER</a:t>
          </a:r>
          <a:endParaRPr lang="es-ES" dirty="0"/>
        </a:p>
      </dgm:t>
    </dgm:pt>
    <dgm:pt modelId="{2B03EE17-6299-49E9-BA27-952AF4E6B2CD}" type="parTrans" cxnId="{D415AB42-12B0-4838-B7A9-8A582059AD61}">
      <dgm:prSet/>
      <dgm:spPr/>
      <dgm:t>
        <a:bodyPr/>
        <a:lstStyle/>
        <a:p>
          <a:endParaRPr lang="es-ES"/>
        </a:p>
      </dgm:t>
    </dgm:pt>
    <dgm:pt modelId="{45A13544-643C-4ED6-9786-5FD032B67122}" type="sibTrans" cxnId="{D415AB42-12B0-4838-B7A9-8A582059AD61}">
      <dgm:prSet/>
      <dgm:spPr/>
      <dgm:t>
        <a:bodyPr/>
        <a:lstStyle/>
        <a:p>
          <a:endParaRPr lang="es-ES"/>
        </a:p>
      </dgm:t>
    </dgm:pt>
    <dgm:pt modelId="{FB6C047B-42AD-4DFD-B35F-25CD86358546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MINED</a:t>
          </a:r>
          <a:endParaRPr lang="es-ES" dirty="0"/>
        </a:p>
      </dgm:t>
    </dgm:pt>
    <dgm:pt modelId="{71E046BF-E1DA-459A-9D18-F5A4332775B2}" type="parTrans" cxnId="{315C7571-7DA4-4420-AA24-B51622A48D84}">
      <dgm:prSet/>
      <dgm:spPr/>
      <dgm:t>
        <a:bodyPr/>
        <a:lstStyle/>
        <a:p>
          <a:endParaRPr lang="es-ES"/>
        </a:p>
      </dgm:t>
    </dgm:pt>
    <dgm:pt modelId="{B763D707-4DC2-44C9-8004-91DEB699C572}" type="sibTrans" cxnId="{315C7571-7DA4-4420-AA24-B51622A48D84}">
      <dgm:prSet/>
      <dgm:spPr/>
      <dgm:t>
        <a:bodyPr/>
        <a:lstStyle/>
        <a:p>
          <a:endParaRPr lang="es-ES"/>
        </a:p>
      </dgm:t>
    </dgm:pt>
    <dgm:pt modelId="{5E19889A-2FF2-409B-A712-F12A464762EA}">
      <dgm:prSet phldrT="[Texto]" phldr="0"/>
      <dgm:spPr/>
      <dgm:t>
        <a:bodyPr/>
        <a:lstStyle/>
        <a:p>
          <a:pPr rtl="0"/>
          <a:r>
            <a:rPr lang="es-ES" dirty="0">
              <a:latin typeface="Helvetica"/>
              <a:cs typeface="Helvetica"/>
            </a:rPr>
            <a:t>ESCARNER (FINALIZADO)</a:t>
          </a:r>
          <a:endParaRPr lang="es-ES" dirty="0"/>
        </a:p>
      </dgm:t>
    </dgm:pt>
    <dgm:pt modelId="{7948DFA4-F38B-4067-AFFA-3EDDBCE21AE6}" type="parTrans" cxnId="{9F1123D5-FF47-4091-8AB6-E1DDF610C84D}">
      <dgm:prSet/>
      <dgm:spPr/>
      <dgm:t>
        <a:bodyPr/>
        <a:lstStyle/>
        <a:p>
          <a:endParaRPr lang="es-ES"/>
        </a:p>
      </dgm:t>
    </dgm:pt>
    <dgm:pt modelId="{6CD21BD7-4EC0-4D9D-B8C5-D3646789AD06}" type="sibTrans" cxnId="{9F1123D5-FF47-4091-8AB6-E1DDF610C84D}">
      <dgm:prSet/>
      <dgm:spPr/>
      <dgm:t>
        <a:bodyPr/>
        <a:lstStyle/>
        <a:p>
          <a:endParaRPr lang="es-ES"/>
        </a:p>
      </dgm:t>
    </dgm:pt>
    <dgm:pt modelId="{69376969-0127-4C38-9774-5D4B74841380}" type="pres">
      <dgm:prSet presAssocID="{BADCF335-654D-440C-B8E0-4605EFE1FE0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9F31D87-470C-432F-BC88-DE6DCB9F0382}" type="pres">
      <dgm:prSet presAssocID="{47286F35-E9B1-424F-8B02-F25D8B361C93}" presName="root1" presStyleCnt="0"/>
      <dgm:spPr/>
    </dgm:pt>
    <dgm:pt modelId="{F54EA502-D312-4759-B024-123BBF7E6FAF}" type="pres">
      <dgm:prSet presAssocID="{47286F35-E9B1-424F-8B02-F25D8B361C93}" presName="LevelOneTextNode" presStyleLbl="node0" presStyleIdx="0" presStyleCnt="1">
        <dgm:presLayoutVars>
          <dgm:chPref val="3"/>
        </dgm:presLayoutVars>
      </dgm:prSet>
      <dgm:spPr/>
    </dgm:pt>
    <dgm:pt modelId="{7EBF8A92-A419-4A7A-BAA9-4C9885933DB5}" type="pres">
      <dgm:prSet presAssocID="{47286F35-E9B1-424F-8B02-F25D8B361C93}" presName="level2hierChild" presStyleCnt="0"/>
      <dgm:spPr/>
    </dgm:pt>
    <dgm:pt modelId="{0C0C5502-EBC3-4CA7-9BDF-3F5EE2A8AF7C}" type="pres">
      <dgm:prSet presAssocID="{71E046BF-E1DA-459A-9D18-F5A4332775B2}" presName="conn2-1" presStyleLbl="parChTrans1D2" presStyleIdx="0" presStyleCnt="1"/>
      <dgm:spPr/>
    </dgm:pt>
    <dgm:pt modelId="{7B48A01A-42AE-4456-BB3A-F2E962E9BD3A}" type="pres">
      <dgm:prSet presAssocID="{71E046BF-E1DA-459A-9D18-F5A4332775B2}" presName="connTx" presStyleLbl="parChTrans1D2" presStyleIdx="0" presStyleCnt="1"/>
      <dgm:spPr/>
    </dgm:pt>
    <dgm:pt modelId="{9246F5BF-128C-4036-B713-FA9E724D93A8}" type="pres">
      <dgm:prSet presAssocID="{FB6C047B-42AD-4DFD-B35F-25CD86358546}" presName="root2" presStyleCnt="0"/>
      <dgm:spPr/>
    </dgm:pt>
    <dgm:pt modelId="{50531140-9B2F-4579-80BD-1C713B74F6E7}" type="pres">
      <dgm:prSet presAssocID="{FB6C047B-42AD-4DFD-B35F-25CD86358546}" presName="LevelTwoTextNode" presStyleLbl="node2" presStyleIdx="0" presStyleCnt="1">
        <dgm:presLayoutVars>
          <dgm:chPref val="3"/>
        </dgm:presLayoutVars>
      </dgm:prSet>
      <dgm:spPr/>
    </dgm:pt>
    <dgm:pt modelId="{5B4AC089-9004-4C5A-A4B4-FFD77E7422E2}" type="pres">
      <dgm:prSet presAssocID="{FB6C047B-42AD-4DFD-B35F-25CD86358546}" presName="level3hierChild" presStyleCnt="0"/>
      <dgm:spPr/>
    </dgm:pt>
    <dgm:pt modelId="{D8CDF5A1-AA7E-4EDE-AF8C-DCC55BB1FCC1}" type="pres">
      <dgm:prSet presAssocID="{7948DFA4-F38B-4067-AFFA-3EDDBCE21AE6}" presName="conn2-1" presStyleLbl="parChTrans1D3" presStyleIdx="0" presStyleCnt="1"/>
      <dgm:spPr/>
    </dgm:pt>
    <dgm:pt modelId="{47CFF3ED-8233-4D4D-AE05-C31EF8FC22C9}" type="pres">
      <dgm:prSet presAssocID="{7948DFA4-F38B-4067-AFFA-3EDDBCE21AE6}" presName="connTx" presStyleLbl="parChTrans1D3" presStyleIdx="0" presStyleCnt="1"/>
      <dgm:spPr/>
    </dgm:pt>
    <dgm:pt modelId="{CE71DFD1-C52B-44E9-A27B-691F2BA76EB5}" type="pres">
      <dgm:prSet presAssocID="{5E19889A-2FF2-409B-A712-F12A464762EA}" presName="root2" presStyleCnt="0"/>
      <dgm:spPr/>
    </dgm:pt>
    <dgm:pt modelId="{DED6FB85-E750-4F67-A23C-48C391747B23}" type="pres">
      <dgm:prSet presAssocID="{5E19889A-2FF2-409B-A712-F12A464762EA}" presName="LevelTwoTextNode" presStyleLbl="node3" presStyleIdx="0" presStyleCnt="1">
        <dgm:presLayoutVars>
          <dgm:chPref val="3"/>
        </dgm:presLayoutVars>
      </dgm:prSet>
      <dgm:spPr/>
    </dgm:pt>
    <dgm:pt modelId="{C30A7FBD-62C4-443A-99F1-2820E10713A2}" type="pres">
      <dgm:prSet presAssocID="{5E19889A-2FF2-409B-A712-F12A464762EA}" presName="level3hierChild" presStyleCnt="0"/>
      <dgm:spPr/>
    </dgm:pt>
  </dgm:ptLst>
  <dgm:cxnLst>
    <dgm:cxn modelId="{8FEFEB05-D473-4ABD-8DA7-11A81BA424EC}" type="presOf" srcId="{BADCF335-654D-440C-B8E0-4605EFE1FE0F}" destId="{69376969-0127-4C38-9774-5D4B74841380}" srcOrd="0" destOrd="0" presId="urn:microsoft.com/office/officeart/2005/8/layout/hierarchy2"/>
    <dgm:cxn modelId="{A82C1608-9C49-4B83-ADFC-B666E44C309D}" type="presOf" srcId="{47286F35-E9B1-424F-8B02-F25D8B361C93}" destId="{F54EA502-D312-4759-B024-123BBF7E6FAF}" srcOrd="0" destOrd="0" presId="urn:microsoft.com/office/officeart/2005/8/layout/hierarchy2"/>
    <dgm:cxn modelId="{C9F14A0E-BEAD-4A08-94AC-F25531DEA4D6}" type="presOf" srcId="{71E046BF-E1DA-459A-9D18-F5A4332775B2}" destId="{0C0C5502-EBC3-4CA7-9BDF-3F5EE2A8AF7C}" srcOrd="0" destOrd="0" presId="urn:microsoft.com/office/officeart/2005/8/layout/hierarchy2"/>
    <dgm:cxn modelId="{D415AB42-12B0-4838-B7A9-8A582059AD61}" srcId="{BADCF335-654D-440C-B8E0-4605EFE1FE0F}" destId="{47286F35-E9B1-424F-8B02-F25D8B361C93}" srcOrd="0" destOrd="0" parTransId="{2B03EE17-6299-49E9-BA27-952AF4E6B2CD}" sibTransId="{45A13544-643C-4ED6-9786-5FD032B67122}"/>
    <dgm:cxn modelId="{315C7571-7DA4-4420-AA24-B51622A48D84}" srcId="{47286F35-E9B1-424F-8B02-F25D8B361C93}" destId="{FB6C047B-42AD-4DFD-B35F-25CD86358546}" srcOrd="0" destOrd="0" parTransId="{71E046BF-E1DA-459A-9D18-F5A4332775B2}" sibTransId="{B763D707-4DC2-44C9-8004-91DEB699C572}"/>
    <dgm:cxn modelId="{14527F71-4F3A-4A37-9757-F0944D809204}" type="presOf" srcId="{FB6C047B-42AD-4DFD-B35F-25CD86358546}" destId="{50531140-9B2F-4579-80BD-1C713B74F6E7}" srcOrd="0" destOrd="0" presId="urn:microsoft.com/office/officeart/2005/8/layout/hierarchy2"/>
    <dgm:cxn modelId="{73C9AB8B-4E96-40FB-9DAB-09C018A12752}" type="presOf" srcId="{71E046BF-E1DA-459A-9D18-F5A4332775B2}" destId="{7B48A01A-42AE-4456-BB3A-F2E962E9BD3A}" srcOrd="1" destOrd="0" presId="urn:microsoft.com/office/officeart/2005/8/layout/hierarchy2"/>
    <dgm:cxn modelId="{FB7E149F-4D90-41C7-9B3F-B0B0974229F6}" type="presOf" srcId="{7948DFA4-F38B-4067-AFFA-3EDDBCE21AE6}" destId="{47CFF3ED-8233-4D4D-AE05-C31EF8FC22C9}" srcOrd="1" destOrd="0" presId="urn:microsoft.com/office/officeart/2005/8/layout/hierarchy2"/>
    <dgm:cxn modelId="{49361BCF-EDEB-4140-B692-646FAADE006E}" type="presOf" srcId="{7948DFA4-F38B-4067-AFFA-3EDDBCE21AE6}" destId="{D8CDF5A1-AA7E-4EDE-AF8C-DCC55BB1FCC1}" srcOrd="0" destOrd="0" presId="urn:microsoft.com/office/officeart/2005/8/layout/hierarchy2"/>
    <dgm:cxn modelId="{9F1123D5-FF47-4091-8AB6-E1DDF610C84D}" srcId="{FB6C047B-42AD-4DFD-B35F-25CD86358546}" destId="{5E19889A-2FF2-409B-A712-F12A464762EA}" srcOrd="0" destOrd="0" parTransId="{7948DFA4-F38B-4067-AFFA-3EDDBCE21AE6}" sibTransId="{6CD21BD7-4EC0-4D9D-B8C5-D3646789AD06}"/>
    <dgm:cxn modelId="{428399D7-66B2-482E-99D0-8305637F94DF}" type="presOf" srcId="{5E19889A-2FF2-409B-A712-F12A464762EA}" destId="{DED6FB85-E750-4F67-A23C-48C391747B23}" srcOrd="0" destOrd="0" presId="urn:microsoft.com/office/officeart/2005/8/layout/hierarchy2"/>
    <dgm:cxn modelId="{B227FE16-5B27-4F7F-91DF-63446B9AE7B4}" type="presParOf" srcId="{69376969-0127-4C38-9774-5D4B74841380}" destId="{C9F31D87-470C-432F-BC88-DE6DCB9F0382}" srcOrd="0" destOrd="0" presId="urn:microsoft.com/office/officeart/2005/8/layout/hierarchy2"/>
    <dgm:cxn modelId="{28A2B6D4-7E6C-476A-B0E9-A918168E0112}" type="presParOf" srcId="{C9F31D87-470C-432F-BC88-DE6DCB9F0382}" destId="{F54EA502-D312-4759-B024-123BBF7E6FAF}" srcOrd="0" destOrd="0" presId="urn:microsoft.com/office/officeart/2005/8/layout/hierarchy2"/>
    <dgm:cxn modelId="{9ACAFBDB-9588-47C7-BD9C-9AE668D1AA8F}" type="presParOf" srcId="{C9F31D87-470C-432F-BC88-DE6DCB9F0382}" destId="{7EBF8A92-A419-4A7A-BAA9-4C9885933DB5}" srcOrd="1" destOrd="0" presId="urn:microsoft.com/office/officeart/2005/8/layout/hierarchy2"/>
    <dgm:cxn modelId="{571C3B3B-3A65-4863-9505-52705C34B597}" type="presParOf" srcId="{7EBF8A92-A419-4A7A-BAA9-4C9885933DB5}" destId="{0C0C5502-EBC3-4CA7-9BDF-3F5EE2A8AF7C}" srcOrd="0" destOrd="0" presId="urn:microsoft.com/office/officeart/2005/8/layout/hierarchy2"/>
    <dgm:cxn modelId="{61952F3B-6D7E-499C-A406-FE6061D26DE6}" type="presParOf" srcId="{0C0C5502-EBC3-4CA7-9BDF-3F5EE2A8AF7C}" destId="{7B48A01A-42AE-4456-BB3A-F2E962E9BD3A}" srcOrd="0" destOrd="0" presId="urn:microsoft.com/office/officeart/2005/8/layout/hierarchy2"/>
    <dgm:cxn modelId="{05892C02-E107-43DC-AF89-192456D3835E}" type="presParOf" srcId="{7EBF8A92-A419-4A7A-BAA9-4C9885933DB5}" destId="{9246F5BF-128C-4036-B713-FA9E724D93A8}" srcOrd="1" destOrd="0" presId="urn:microsoft.com/office/officeart/2005/8/layout/hierarchy2"/>
    <dgm:cxn modelId="{58DFD819-7287-4135-9542-25A51A897D7D}" type="presParOf" srcId="{9246F5BF-128C-4036-B713-FA9E724D93A8}" destId="{50531140-9B2F-4579-80BD-1C713B74F6E7}" srcOrd="0" destOrd="0" presId="urn:microsoft.com/office/officeart/2005/8/layout/hierarchy2"/>
    <dgm:cxn modelId="{0163A723-CBF8-45C9-8FF9-43E2FACA95A1}" type="presParOf" srcId="{9246F5BF-128C-4036-B713-FA9E724D93A8}" destId="{5B4AC089-9004-4C5A-A4B4-FFD77E7422E2}" srcOrd="1" destOrd="0" presId="urn:microsoft.com/office/officeart/2005/8/layout/hierarchy2"/>
    <dgm:cxn modelId="{EEDA5420-E57B-406A-BE80-9B88466CD3A6}" type="presParOf" srcId="{5B4AC089-9004-4C5A-A4B4-FFD77E7422E2}" destId="{D8CDF5A1-AA7E-4EDE-AF8C-DCC55BB1FCC1}" srcOrd="0" destOrd="0" presId="urn:microsoft.com/office/officeart/2005/8/layout/hierarchy2"/>
    <dgm:cxn modelId="{1D957069-B68E-4388-95C7-BD4692F0B02C}" type="presParOf" srcId="{D8CDF5A1-AA7E-4EDE-AF8C-DCC55BB1FCC1}" destId="{47CFF3ED-8233-4D4D-AE05-C31EF8FC22C9}" srcOrd="0" destOrd="0" presId="urn:microsoft.com/office/officeart/2005/8/layout/hierarchy2"/>
    <dgm:cxn modelId="{807AD5A1-D151-48ED-AC35-CC3C1A552A01}" type="presParOf" srcId="{5B4AC089-9004-4C5A-A4B4-FFD77E7422E2}" destId="{CE71DFD1-C52B-44E9-A27B-691F2BA76EB5}" srcOrd="1" destOrd="0" presId="urn:microsoft.com/office/officeart/2005/8/layout/hierarchy2"/>
    <dgm:cxn modelId="{92FDAB3C-FDBA-4BC6-AF2A-8D0E148D2896}" type="presParOf" srcId="{CE71DFD1-C52B-44E9-A27B-691F2BA76EB5}" destId="{DED6FB85-E750-4F67-A23C-48C391747B23}" srcOrd="0" destOrd="0" presId="urn:microsoft.com/office/officeart/2005/8/layout/hierarchy2"/>
    <dgm:cxn modelId="{D7FC4195-8550-4B37-BAA7-29672E95483D}" type="presParOf" srcId="{CE71DFD1-C52B-44E9-A27B-691F2BA76EB5}" destId="{C30A7FBD-62C4-443A-99F1-2820E10713A2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BADCF335-654D-440C-B8E0-4605EFE1FE0F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47286F35-E9B1-424F-8B02-F25D8B361C93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GEANCARLOS</a:t>
          </a:r>
          <a:endParaRPr lang="es-ES" dirty="0"/>
        </a:p>
      </dgm:t>
    </dgm:pt>
    <dgm:pt modelId="{2B03EE17-6299-49E9-BA27-952AF4E6B2CD}" type="parTrans" cxnId="{D415AB42-12B0-4838-B7A9-8A582059AD61}">
      <dgm:prSet/>
      <dgm:spPr/>
      <dgm:t>
        <a:bodyPr/>
        <a:lstStyle/>
        <a:p>
          <a:endParaRPr lang="es-ES"/>
        </a:p>
      </dgm:t>
    </dgm:pt>
    <dgm:pt modelId="{45A13544-643C-4ED6-9786-5FD032B67122}" type="sibTrans" cxnId="{D415AB42-12B0-4838-B7A9-8A582059AD61}">
      <dgm:prSet/>
      <dgm:spPr/>
      <dgm:t>
        <a:bodyPr/>
        <a:lstStyle/>
        <a:p>
          <a:endParaRPr lang="es-ES"/>
        </a:p>
      </dgm:t>
    </dgm:pt>
    <dgm:pt modelId="{FB6C047B-42AD-4DFD-B35F-25CD86358546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MINED</a:t>
          </a:r>
          <a:endParaRPr lang="es-ES" dirty="0"/>
        </a:p>
      </dgm:t>
    </dgm:pt>
    <dgm:pt modelId="{71E046BF-E1DA-459A-9D18-F5A4332775B2}" type="parTrans" cxnId="{315C7571-7DA4-4420-AA24-B51622A48D84}">
      <dgm:prSet/>
      <dgm:spPr/>
      <dgm:t>
        <a:bodyPr/>
        <a:lstStyle/>
        <a:p>
          <a:endParaRPr lang="es-ES"/>
        </a:p>
      </dgm:t>
    </dgm:pt>
    <dgm:pt modelId="{B763D707-4DC2-44C9-8004-91DEB699C572}" type="sibTrans" cxnId="{315C7571-7DA4-4420-AA24-B51622A48D84}">
      <dgm:prSet/>
      <dgm:spPr/>
      <dgm:t>
        <a:bodyPr/>
        <a:lstStyle/>
        <a:p>
          <a:endParaRPr lang="es-ES"/>
        </a:p>
      </dgm:t>
    </dgm:pt>
    <dgm:pt modelId="{5E19889A-2FF2-409B-A712-F12A464762EA}">
      <dgm:prSet phldrT="[Texto]" phldr="0"/>
      <dgm:spPr/>
      <dgm:t>
        <a:bodyPr/>
        <a:lstStyle/>
        <a:p>
          <a:pPr rtl="0"/>
          <a:r>
            <a:rPr lang="es-ES" dirty="0">
              <a:latin typeface="Helvetica"/>
              <a:cs typeface="Helvetica"/>
            </a:rPr>
            <a:t>ACADEMY(PAQUETE DE CAMBIOS)</a:t>
          </a:r>
          <a:endParaRPr lang="es-ES" dirty="0"/>
        </a:p>
      </dgm:t>
    </dgm:pt>
    <dgm:pt modelId="{7948DFA4-F38B-4067-AFFA-3EDDBCE21AE6}" type="parTrans" cxnId="{9F1123D5-FF47-4091-8AB6-E1DDF610C84D}">
      <dgm:prSet/>
      <dgm:spPr/>
      <dgm:t>
        <a:bodyPr/>
        <a:lstStyle/>
        <a:p>
          <a:endParaRPr lang="es-ES"/>
        </a:p>
      </dgm:t>
    </dgm:pt>
    <dgm:pt modelId="{6CD21BD7-4EC0-4D9D-B8C5-D3646789AD06}" type="sibTrans" cxnId="{9F1123D5-FF47-4091-8AB6-E1DDF610C84D}">
      <dgm:prSet/>
      <dgm:spPr/>
      <dgm:t>
        <a:bodyPr/>
        <a:lstStyle/>
        <a:p>
          <a:endParaRPr lang="es-ES"/>
        </a:p>
      </dgm:t>
    </dgm:pt>
    <dgm:pt modelId="{69376969-0127-4C38-9774-5D4B74841380}" type="pres">
      <dgm:prSet presAssocID="{BADCF335-654D-440C-B8E0-4605EFE1FE0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9F31D87-470C-432F-BC88-DE6DCB9F0382}" type="pres">
      <dgm:prSet presAssocID="{47286F35-E9B1-424F-8B02-F25D8B361C93}" presName="root1" presStyleCnt="0"/>
      <dgm:spPr/>
    </dgm:pt>
    <dgm:pt modelId="{F54EA502-D312-4759-B024-123BBF7E6FAF}" type="pres">
      <dgm:prSet presAssocID="{47286F35-E9B1-424F-8B02-F25D8B361C93}" presName="LevelOneTextNode" presStyleLbl="node0" presStyleIdx="0" presStyleCnt="1">
        <dgm:presLayoutVars>
          <dgm:chPref val="3"/>
        </dgm:presLayoutVars>
      </dgm:prSet>
      <dgm:spPr/>
    </dgm:pt>
    <dgm:pt modelId="{7EBF8A92-A419-4A7A-BAA9-4C9885933DB5}" type="pres">
      <dgm:prSet presAssocID="{47286F35-E9B1-424F-8B02-F25D8B361C93}" presName="level2hierChild" presStyleCnt="0"/>
      <dgm:spPr/>
    </dgm:pt>
    <dgm:pt modelId="{0C0C5502-EBC3-4CA7-9BDF-3F5EE2A8AF7C}" type="pres">
      <dgm:prSet presAssocID="{71E046BF-E1DA-459A-9D18-F5A4332775B2}" presName="conn2-1" presStyleLbl="parChTrans1D2" presStyleIdx="0" presStyleCnt="1"/>
      <dgm:spPr/>
    </dgm:pt>
    <dgm:pt modelId="{7B48A01A-42AE-4456-BB3A-F2E962E9BD3A}" type="pres">
      <dgm:prSet presAssocID="{71E046BF-E1DA-459A-9D18-F5A4332775B2}" presName="connTx" presStyleLbl="parChTrans1D2" presStyleIdx="0" presStyleCnt="1"/>
      <dgm:spPr/>
    </dgm:pt>
    <dgm:pt modelId="{9246F5BF-128C-4036-B713-FA9E724D93A8}" type="pres">
      <dgm:prSet presAssocID="{FB6C047B-42AD-4DFD-B35F-25CD86358546}" presName="root2" presStyleCnt="0"/>
      <dgm:spPr/>
    </dgm:pt>
    <dgm:pt modelId="{50531140-9B2F-4579-80BD-1C713B74F6E7}" type="pres">
      <dgm:prSet presAssocID="{FB6C047B-42AD-4DFD-B35F-25CD86358546}" presName="LevelTwoTextNode" presStyleLbl="node2" presStyleIdx="0" presStyleCnt="1">
        <dgm:presLayoutVars>
          <dgm:chPref val="3"/>
        </dgm:presLayoutVars>
      </dgm:prSet>
      <dgm:spPr/>
    </dgm:pt>
    <dgm:pt modelId="{5B4AC089-9004-4C5A-A4B4-FFD77E7422E2}" type="pres">
      <dgm:prSet presAssocID="{FB6C047B-42AD-4DFD-B35F-25CD86358546}" presName="level3hierChild" presStyleCnt="0"/>
      <dgm:spPr/>
    </dgm:pt>
    <dgm:pt modelId="{D8CDF5A1-AA7E-4EDE-AF8C-DCC55BB1FCC1}" type="pres">
      <dgm:prSet presAssocID="{7948DFA4-F38B-4067-AFFA-3EDDBCE21AE6}" presName="conn2-1" presStyleLbl="parChTrans1D3" presStyleIdx="0" presStyleCnt="1"/>
      <dgm:spPr/>
    </dgm:pt>
    <dgm:pt modelId="{47CFF3ED-8233-4D4D-AE05-C31EF8FC22C9}" type="pres">
      <dgm:prSet presAssocID="{7948DFA4-F38B-4067-AFFA-3EDDBCE21AE6}" presName="connTx" presStyleLbl="parChTrans1D3" presStyleIdx="0" presStyleCnt="1"/>
      <dgm:spPr/>
    </dgm:pt>
    <dgm:pt modelId="{CE71DFD1-C52B-44E9-A27B-691F2BA76EB5}" type="pres">
      <dgm:prSet presAssocID="{5E19889A-2FF2-409B-A712-F12A464762EA}" presName="root2" presStyleCnt="0"/>
      <dgm:spPr/>
    </dgm:pt>
    <dgm:pt modelId="{DED6FB85-E750-4F67-A23C-48C391747B23}" type="pres">
      <dgm:prSet presAssocID="{5E19889A-2FF2-409B-A712-F12A464762EA}" presName="LevelTwoTextNode" presStyleLbl="node3" presStyleIdx="0" presStyleCnt="1">
        <dgm:presLayoutVars>
          <dgm:chPref val="3"/>
        </dgm:presLayoutVars>
      </dgm:prSet>
      <dgm:spPr/>
    </dgm:pt>
    <dgm:pt modelId="{C30A7FBD-62C4-443A-99F1-2820E10713A2}" type="pres">
      <dgm:prSet presAssocID="{5E19889A-2FF2-409B-A712-F12A464762EA}" presName="level3hierChild" presStyleCnt="0"/>
      <dgm:spPr/>
    </dgm:pt>
  </dgm:ptLst>
  <dgm:cxnLst>
    <dgm:cxn modelId="{8FEFEB05-D473-4ABD-8DA7-11A81BA424EC}" type="presOf" srcId="{BADCF335-654D-440C-B8E0-4605EFE1FE0F}" destId="{69376969-0127-4C38-9774-5D4B74841380}" srcOrd="0" destOrd="0" presId="urn:microsoft.com/office/officeart/2005/8/layout/hierarchy2"/>
    <dgm:cxn modelId="{A82C1608-9C49-4B83-ADFC-B666E44C309D}" type="presOf" srcId="{47286F35-E9B1-424F-8B02-F25D8B361C93}" destId="{F54EA502-D312-4759-B024-123BBF7E6FAF}" srcOrd="0" destOrd="0" presId="urn:microsoft.com/office/officeart/2005/8/layout/hierarchy2"/>
    <dgm:cxn modelId="{DBD5B00A-892F-414B-ABE8-C4A40731B32F}" type="presOf" srcId="{FB6C047B-42AD-4DFD-B35F-25CD86358546}" destId="{50531140-9B2F-4579-80BD-1C713B74F6E7}" srcOrd="0" destOrd="0" presId="urn:microsoft.com/office/officeart/2005/8/layout/hierarchy2"/>
    <dgm:cxn modelId="{C9F14A0E-BEAD-4A08-94AC-F25531DEA4D6}" type="presOf" srcId="{71E046BF-E1DA-459A-9D18-F5A4332775B2}" destId="{0C0C5502-EBC3-4CA7-9BDF-3F5EE2A8AF7C}" srcOrd="0" destOrd="0" presId="urn:microsoft.com/office/officeart/2005/8/layout/hierarchy2"/>
    <dgm:cxn modelId="{D415AB42-12B0-4838-B7A9-8A582059AD61}" srcId="{BADCF335-654D-440C-B8E0-4605EFE1FE0F}" destId="{47286F35-E9B1-424F-8B02-F25D8B361C93}" srcOrd="0" destOrd="0" parTransId="{2B03EE17-6299-49E9-BA27-952AF4E6B2CD}" sibTransId="{45A13544-643C-4ED6-9786-5FD032B67122}"/>
    <dgm:cxn modelId="{A8C3A64C-A408-49DA-A4AE-68BBFA165739}" type="presOf" srcId="{7948DFA4-F38B-4067-AFFA-3EDDBCE21AE6}" destId="{47CFF3ED-8233-4D4D-AE05-C31EF8FC22C9}" srcOrd="1" destOrd="0" presId="urn:microsoft.com/office/officeart/2005/8/layout/hierarchy2"/>
    <dgm:cxn modelId="{315C7571-7DA4-4420-AA24-B51622A48D84}" srcId="{47286F35-E9B1-424F-8B02-F25D8B361C93}" destId="{FB6C047B-42AD-4DFD-B35F-25CD86358546}" srcOrd="0" destOrd="0" parTransId="{71E046BF-E1DA-459A-9D18-F5A4332775B2}" sibTransId="{B763D707-4DC2-44C9-8004-91DEB699C572}"/>
    <dgm:cxn modelId="{B2E543B2-2593-42E1-8B32-B85CA19E8683}" type="presOf" srcId="{71E046BF-E1DA-459A-9D18-F5A4332775B2}" destId="{7B48A01A-42AE-4456-BB3A-F2E962E9BD3A}" srcOrd="1" destOrd="0" presId="urn:microsoft.com/office/officeart/2005/8/layout/hierarchy2"/>
    <dgm:cxn modelId="{263A02D2-5EB7-4DF6-8657-D08030F5AF23}" type="presOf" srcId="{7948DFA4-F38B-4067-AFFA-3EDDBCE21AE6}" destId="{D8CDF5A1-AA7E-4EDE-AF8C-DCC55BB1FCC1}" srcOrd="0" destOrd="0" presId="urn:microsoft.com/office/officeart/2005/8/layout/hierarchy2"/>
    <dgm:cxn modelId="{9F1123D5-FF47-4091-8AB6-E1DDF610C84D}" srcId="{FB6C047B-42AD-4DFD-B35F-25CD86358546}" destId="{5E19889A-2FF2-409B-A712-F12A464762EA}" srcOrd="0" destOrd="0" parTransId="{7948DFA4-F38B-4067-AFFA-3EDDBCE21AE6}" sibTransId="{6CD21BD7-4EC0-4D9D-B8C5-D3646789AD06}"/>
    <dgm:cxn modelId="{7C36CCE0-D14B-4AE6-A47A-2353D56F5167}" type="presOf" srcId="{5E19889A-2FF2-409B-A712-F12A464762EA}" destId="{DED6FB85-E750-4F67-A23C-48C391747B23}" srcOrd="0" destOrd="0" presId="urn:microsoft.com/office/officeart/2005/8/layout/hierarchy2"/>
    <dgm:cxn modelId="{B227FE16-5B27-4F7F-91DF-63446B9AE7B4}" type="presParOf" srcId="{69376969-0127-4C38-9774-5D4B74841380}" destId="{C9F31D87-470C-432F-BC88-DE6DCB9F0382}" srcOrd="0" destOrd="0" presId="urn:microsoft.com/office/officeart/2005/8/layout/hierarchy2"/>
    <dgm:cxn modelId="{28A2B6D4-7E6C-476A-B0E9-A918168E0112}" type="presParOf" srcId="{C9F31D87-470C-432F-BC88-DE6DCB9F0382}" destId="{F54EA502-D312-4759-B024-123BBF7E6FAF}" srcOrd="0" destOrd="0" presId="urn:microsoft.com/office/officeart/2005/8/layout/hierarchy2"/>
    <dgm:cxn modelId="{9ACAFBDB-9588-47C7-BD9C-9AE668D1AA8F}" type="presParOf" srcId="{C9F31D87-470C-432F-BC88-DE6DCB9F0382}" destId="{7EBF8A92-A419-4A7A-BAA9-4C9885933DB5}" srcOrd="1" destOrd="0" presId="urn:microsoft.com/office/officeart/2005/8/layout/hierarchy2"/>
    <dgm:cxn modelId="{571C3B3B-3A65-4863-9505-52705C34B597}" type="presParOf" srcId="{7EBF8A92-A419-4A7A-BAA9-4C9885933DB5}" destId="{0C0C5502-EBC3-4CA7-9BDF-3F5EE2A8AF7C}" srcOrd="0" destOrd="0" presId="urn:microsoft.com/office/officeart/2005/8/layout/hierarchy2"/>
    <dgm:cxn modelId="{7EA3FFA3-6605-491B-877C-CBA62679809A}" type="presParOf" srcId="{0C0C5502-EBC3-4CA7-9BDF-3F5EE2A8AF7C}" destId="{7B48A01A-42AE-4456-BB3A-F2E962E9BD3A}" srcOrd="0" destOrd="0" presId="urn:microsoft.com/office/officeart/2005/8/layout/hierarchy2"/>
    <dgm:cxn modelId="{05892C02-E107-43DC-AF89-192456D3835E}" type="presParOf" srcId="{7EBF8A92-A419-4A7A-BAA9-4C9885933DB5}" destId="{9246F5BF-128C-4036-B713-FA9E724D93A8}" srcOrd="1" destOrd="0" presId="urn:microsoft.com/office/officeart/2005/8/layout/hierarchy2"/>
    <dgm:cxn modelId="{BCBB301D-1599-4831-B5B9-467C60B56933}" type="presParOf" srcId="{9246F5BF-128C-4036-B713-FA9E724D93A8}" destId="{50531140-9B2F-4579-80BD-1C713B74F6E7}" srcOrd="0" destOrd="0" presId="urn:microsoft.com/office/officeart/2005/8/layout/hierarchy2"/>
    <dgm:cxn modelId="{BDCBB033-7FE7-45D4-AD90-EABE97632F89}" type="presParOf" srcId="{9246F5BF-128C-4036-B713-FA9E724D93A8}" destId="{5B4AC089-9004-4C5A-A4B4-FFD77E7422E2}" srcOrd="1" destOrd="0" presId="urn:microsoft.com/office/officeart/2005/8/layout/hierarchy2"/>
    <dgm:cxn modelId="{796B5D98-5923-4494-BDBA-0959D9C33BC8}" type="presParOf" srcId="{5B4AC089-9004-4C5A-A4B4-FFD77E7422E2}" destId="{D8CDF5A1-AA7E-4EDE-AF8C-DCC55BB1FCC1}" srcOrd="0" destOrd="0" presId="urn:microsoft.com/office/officeart/2005/8/layout/hierarchy2"/>
    <dgm:cxn modelId="{3F704E5A-016D-4231-AD19-BBD03683F557}" type="presParOf" srcId="{D8CDF5A1-AA7E-4EDE-AF8C-DCC55BB1FCC1}" destId="{47CFF3ED-8233-4D4D-AE05-C31EF8FC22C9}" srcOrd="0" destOrd="0" presId="urn:microsoft.com/office/officeart/2005/8/layout/hierarchy2"/>
    <dgm:cxn modelId="{0482D2B9-3149-41F1-84E5-D99229B80E5E}" type="presParOf" srcId="{5B4AC089-9004-4C5A-A4B4-FFD77E7422E2}" destId="{CE71DFD1-C52B-44E9-A27B-691F2BA76EB5}" srcOrd="1" destOrd="0" presId="urn:microsoft.com/office/officeart/2005/8/layout/hierarchy2"/>
    <dgm:cxn modelId="{03BBE4FF-85B3-4D2A-9E77-67459F39EC25}" type="presParOf" srcId="{CE71DFD1-C52B-44E9-A27B-691F2BA76EB5}" destId="{DED6FB85-E750-4F67-A23C-48C391747B23}" srcOrd="0" destOrd="0" presId="urn:microsoft.com/office/officeart/2005/8/layout/hierarchy2"/>
    <dgm:cxn modelId="{914E36E7-383E-470A-8FCE-2748948D99F7}" type="presParOf" srcId="{CE71DFD1-C52B-44E9-A27B-691F2BA76EB5}" destId="{C30A7FBD-62C4-443A-99F1-2820E10713A2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BADCF335-654D-440C-B8E0-4605EFE1FE0F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47286F35-E9B1-424F-8B02-F25D8B361C93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LUIS</a:t>
          </a:r>
          <a:endParaRPr lang="es-ES" dirty="0"/>
        </a:p>
      </dgm:t>
    </dgm:pt>
    <dgm:pt modelId="{2B03EE17-6299-49E9-BA27-952AF4E6B2CD}" type="parTrans" cxnId="{D415AB42-12B0-4838-B7A9-8A582059AD61}">
      <dgm:prSet/>
      <dgm:spPr/>
      <dgm:t>
        <a:bodyPr/>
        <a:lstStyle/>
        <a:p>
          <a:endParaRPr lang="es-ES"/>
        </a:p>
      </dgm:t>
    </dgm:pt>
    <dgm:pt modelId="{45A13544-643C-4ED6-9786-5FD032B67122}" type="sibTrans" cxnId="{D415AB42-12B0-4838-B7A9-8A582059AD61}">
      <dgm:prSet/>
      <dgm:spPr/>
      <dgm:t>
        <a:bodyPr/>
        <a:lstStyle/>
        <a:p>
          <a:endParaRPr lang="es-ES"/>
        </a:p>
      </dgm:t>
    </dgm:pt>
    <dgm:pt modelId="{FB6C047B-42AD-4DFD-B35F-25CD86358546}">
      <dgm:prSet phldrT="[Texto]"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MINED</a:t>
          </a:r>
          <a:endParaRPr lang="es-ES" dirty="0"/>
        </a:p>
      </dgm:t>
    </dgm:pt>
    <dgm:pt modelId="{71E046BF-E1DA-459A-9D18-F5A4332775B2}" type="parTrans" cxnId="{315C7571-7DA4-4420-AA24-B51622A48D84}">
      <dgm:prSet/>
      <dgm:spPr/>
      <dgm:t>
        <a:bodyPr/>
        <a:lstStyle/>
        <a:p>
          <a:endParaRPr lang="es-ES"/>
        </a:p>
      </dgm:t>
    </dgm:pt>
    <dgm:pt modelId="{B763D707-4DC2-44C9-8004-91DEB699C572}" type="sibTrans" cxnId="{315C7571-7DA4-4420-AA24-B51622A48D84}">
      <dgm:prSet/>
      <dgm:spPr/>
      <dgm:t>
        <a:bodyPr/>
        <a:lstStyle/>
        <a:p>
          <a:endParaRPr lang="es-ES"/>
        </a:p>
      </dgm:t>
    </dgm:pt>
    <dgm:pt modelId="{5E19889A-2FF2-409B-A712-F12A464762EA}">
      <dgm:prSet phldrT="[Texto]" phldr="0"/>
      <dgm:spPr/>
      <dgm:t>
        <a:bodyPr/>
        <a:lstStyle/>
        <a:p>
          <a:pPr rtl="0"/>
          <a:r>
            <a:rPr lang="es-ES" dirty="0">
              <a:latin typeface="Helvetica"/>
              <a:cs typeface="Helvetica"/>
            </a:rPr>
            <a:t>CLOUD </a:t>
          </a:r>
        </a:p>
      </dgm:t>
    </dgm:pt>
    <dgm:pt modelId="{7948DFA4-F38B-4067-AFFA-3EDDBCE21AE6}" type="parTrans" cxnId="{9F1123D5-FF47-4091-8AB6-E1DDF610C84D}">
      <dgm:prSet/>
      <dgm:spPr/>
      <dgm:t>
        <a:bodyPr/>
        <a:lstStyle/>
        <a:p>
          <a:endParaRPr lang="es-ES"/>
        </a:p>
      </dgm:t>
    </dgm:pt>
    <dgm:pt modelId="{6CD21BD7-4EC0-4D9D-B8C5-D3646789AD06}" type="sibTrans" cxnId="{9F1123D5-FF47-4091-8AB6-E1DDF610C84D}">
      <dgm:prSet/>
      <dgm:spPr/>
      <dgm:t>
        <a:bodyPr/>
        <a:lstStyle/>
        <a:p>
          <a:endParaRPr lang="es-ES"/>
        </a:p>
      </dgm:t>
    </dgm:pt>
    <dgm:pt modelId="{87502C44-2A00-4594-9E11-A718324DCC66}">
      <dgm:prSet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MICONNECT</a:t>
          </a:r>
        </a:p>
      </dgm:t>
    </dgm:pt>
    <dgm:pt modelId="{56CE95B4-C08E-4712-9345-A35F72598758}" type="parTrans" cxnId="{4C0A265D-9C53-4EC6-A3D7-70B7BDB684C9}">
      <dgm:prSet/>
      <dgm:spPr/>
      <dgm:t>
        <a:bodyPr/>
        <a:lstStyle/>
        <a:p>
          <a:endParaRPr lang="es-ES"/>
        </a:p>
      </dgm:t>
    </dgm:pt>
    <dgm:pt modelId="{818EBF3D-54D9-48CF-8958-9437A9C09E65}" type="sibTrans" cxnId="{4C0A265D-9C53-4EC6-A3D7-70B7BDB684C9}">
      <dgm:prSet/>
      <dgm:spPr/>
    </dgm:pt>
    <dgm:pt modelId="{D8A987EE-C5C7-4062-BD56-863A401F38F9}">
      <dgm:prSet phldr="0"/>
      <dgm:spPr/>
      <dgm:t>
        <a:bodyPr/>
        <a:lstStyle/>
        <a:p>
          <a:pPr rtl="0"/>
          <a:r>
            <a:rPr lang="es-ES" dirty="0">
              <a:latin typeface="Helvetica"/>
              <a:cs typeface="Helvetica"/>
            </a:rPr>
            <a:t>PROBLEMAS PLATAFORMA</a:t>
          </a:r>
        </a:p>
      </dgm:t>
    </dgm:pt>
    <dgm:pt modelId="{DF8D3923-8C9F-4E57-A784-E8CFD5F88555}" type="parTrans" cxnId="{BFBACE0E-9911-4FCA-B3EA-5814A4992722}">
      <dgm:prSet/>
      <dgm:spPr/>
      <dgm:t>
        <a:bodyPr/>
        <a:lstStyle/>
        <a:p>
          <a:endParaRPr lang="es-ES"/>
        </a:p>
      </dgm:t>
    </dgm:pt>
    <dgm:pt modelId="{42833D70-8F61-44D9-A440-150EF018C4CC}" type="sibTrans" cxnId="{BFBACE0E-9911-4FCA-B3EA-5814A4992722}">
      <dgm:prSet/>
      <dgm:spPr/>
    </dgm:pt>
    <dgm:pt modelId="{850944CC-C25D-437D-89FB-09501EA714E4}">
      <dgm:prSet phldr="0"/>
      <dgm:spPr/>
      <dgm:t>
        <a:bodyPr/>
        <a:lstStyle/>
        <a:p>
          <a:r>
            <a:rPr lang="es-ES" dirty="0">
              <a:latin typeface="Helvetica"/>
              <a:cs typeface="Helvetica"/>
            </a:rPr>
            <a:t>BIMINED IOS</a:t>
          </a:r>
          <a:endParaRPr lang="es-ES" dirty="0"/>
        </a:p>
      </dgm:t>
    </dgm:pt>
    <dgm:pt modelId="{DA2D05DA-6DC7-4A50-A3E7-600D8B2D271F}" type="parTrans" cxnId="{062FDBE0-CE8B-4F9D-90E7-ACEFA208224E}">
      <dgm:prSet/>
      <dgm:spPr/>
      <dgm:t>
        <a:bodyPr/>
        <a:lstStyle/>
        <a:p>
          <a:endParaRPr lang="es-ES"/>
        </a:p>
      </dgm:t>
    </dgm:pt>
    <dgm:pt modelId="{F8BAD107-E7B6-4553-9A97-FA266903411C}" type="sibTrans" cxnId="{062FDBE0-CE8B-4F9D-90E7-ACEFA208224E}">
      <dgm:prSet/>
      <dgm:spPr/>
    </dgm:pt>
    <dgm:pt modelId="{69376969-0127-4C38-9774-5D4B74841380}" type="pres">
      <dgm:prSet presAssocID="{BADCF335-654D-440C-B8E0-4605EFE1FE0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9F31D87-470C-432F-BC88-DE6DCB9F0382}" type="pres">
      <dgm:prSet presAssocID="{47286F35-E9B1-424F-8B02-F25D8B361C93}" presName="root1" presStyleCnt="0"/>
      <dgm:spPr/>
    </dgm:pt>
    <dgm:pt modelId="{F54EA502-D312-4759-B024-123BBF7E6FAF}" type="pres">
      <dgm:prSet presAssocID="{47286F35-E9B1-424F-8B02-F25D8B361C93}" presName="LevelOneTextNode" presStyleLbl="node0" presStyleIdx="0" presStyleCnt="1">
        <dgm:presLayoutVars>
          <dgm:chPref val="3"/>
        </dgm:presLayoutVars>
      </dgm:prSet>
      <dgm:spPr/>
    </dgm:pt>
    <dgm:pt modelId="{7EBF8A92-A419-4A7A-BAA9-4C9885933DB5}" type="pres">
      <dgm:prSet presAssocID="{47286F35-E9B1-424F-8B02-F25D8B361C93}" presName="level2hierChild" presStyleCnt="0"/>
      <dgm:spPr/>
    </dgm:pt>
    <dgm:pt modelId="{0C0C5502-EBC3-4CA7-9BDF-3F5EE2A8AF7C}" type="pres">
      <dgm:prSet presAssocID="{71E046BF-E1DA-459A-9D18-F5A4332775B2}" presName="conn2-1" presStyleLbl="parChTrans1D2" presStyleIdx="0" presStyleCnt="2"/>
      <dgm:spPr/>
    </dgm:pt>
    <dgm:pt modelId="{7B48A01A-42AE-4456-BB3A-F2E962E9BD3A}" type="pres">
      <dgm:prSet presAssocID="{71E046BF-E1DA-459A-9D18-F5A4332775B2}" presName="connTx" presStyleLbl="parChTrans1D2" presStyleIdx="0" presStyleCnt="2"/>
      <dgm:spPr/>
    </dgm:pt>
    <dgm:pt modelId="{9246F5BF-128C-4036-B713-FA9E724D93A8}" type="pres">
      <dgm:prSet presAssocID="{FB6C047B-42AD-4DFD-B35F-25CD86358546}" presName="root2" presStyleCnt="0"/>
      <dgm:spPr/>
    </dgm:pt>
    <dgm:pt modelId="{50531140-9B2F-4579-80BD-1C713B74F6E7}" type="pres">
      <dgm:prSet presAssocID="{FB6C047B-42AD-4DFD-B35F-25CD86358546}" presName="LevelTwoTextNode" presStyleLbl="node2" presStyleIdx="0" presStyleCnt="2">
        <dgm:presLayoutVars>
          <dgm:chPref val="3"/>
        </dgm:presLayoutVars>
      </dgm:prSet>
      <dgm:spPr/>
    </dgm:pt>
    <dgm:pt modelId="{5B4AC089-9004-4C5A-A4B4-FFD77E7422E2}" type="pres">
      <dgm:prSet presAssocID="{FB6C047B-42AD-4DFD-B35F-25CD86358546}" presName="level3hierChild" presStyleCnt="0"/>
      <dgm:spPr/>
    </dgm:pt>
    <dgm:pt modelId="{D8CDF5A1-AA7E-4EDE-AF8C-DCC55BB1FCC1}" type="pres">
      <dgm:prSet presAssocID="{7948DFA4-F38B-4067-AFFA-3EDDBCE21AE6}" presName="conn2-1" presStyleLbl="parChTrans1D3" presStyleIdx="0" presStyleCnt="3"/>
      <dgm:spPr/>
    </dgm:pt>
    <dgm:pt modelId="{47CFF3ED-8233-4D4D-AE05-C31EF8FC22C9}" type="pres">
      <dgm:prSet presAssocID="{7948DFA4-F38B-4067-AFFA-3EDDBCE21AE6}" presName="connTx" presStyleLbl="parChTrans1D3" presStyleIdx="0" presStyleCnt="3"/>
      <dgm:spPr/>
    </dgm:pt>
    <dgm:pt modelId="{CE71DFD1-C52B-44E9-A27B-691F2BA76EB5}" type="pres">
      <dgm:prSet presAssocID="{5E19889A-2FF2-409B-A712-F12A464762EA}" presName="root2" presStyleCnt="0"/>
      <dgm:spPr/>
    </dgm:pt>
    <dgm:pt modelId="{DED6FB85-E750-4F67-A23C-48C391747B23}" type="pres">
      <dgm:prSet presAssocID="{5E19889A-2FF2-409B-A712-F12A464762EA}" presName="LevelTwoTextNode" presStyleLbl="node3" presStyleIdx="0" presStyleCnt="3">
        <dgm:presLayoutVars>
          <dgm:chPref val="3"/>
        </dgm:presLayoutVars>
      </dgm:prSet>
      <dgm:spPr/>
    </dgm:pt>
    <dgm:pt modelId="{C30A7FBD-62C4-443A-99F1-2820E10713A2}" type="pres">
      <dgm:prSet presAssocID="{5E19889A-2FF2-409B-A712-F12A464762EA}" presName="level3hierChild" presStyleCnt="0"/>
      <dgm:spPr/>
    </dgm:pt>
    <dgm:pt modelId="{C2959B0B-D261-43AF-9A3A-EC31F198A5ED}" type="pres">
      <dgm:prSet presAssocID="{DA2D05DA-6DC7-4A50-A3E7-600D8B2D271F}" presName="conn2-1" presStyleLbl="parChTrans1D3" presStyleIdx="1" presStyleCnt="3"/>
      <dgm:spPr/>
    </dgm:pt>
    <dgm:pt modelId="{78CBC522-11BA-42C9-964F-F890DE0E8F07}" type="pres">
      <dgm:prSet presAssocID="{DA2D05DA-6DC7-4A50-A3E7-600D8B2D271F}" presName="connTx" presStyleLbl="parChTrans1D3" presStyleIdx="1" presStyleCnt="3"/>
      <dgm:spPr/>
    </dgm:pt>
    <dgm:pt modelId="{E1BFA4F3-59AF-4D06-8606-D922F0147335}" type="pres">
      <dgm:prSet presAssocID="{850944CC-C25D-437D-89FB-09501EA714E4}" presName="root2" presStyleCnt="0"/>
      <dgm:spPr/>
    </dgm:pt>
    <dgm:pt modelId="{3E8C3637-0A97-4A56-8BA2-703F3A57D3A9}" type="pres">
      <dgm:prSet presAssocID="{850944CC-C25D-437D-89FB-09501EA714E4}" presName="LevelTwoTextNode" presStyleLbl="node3" presStyleIdx="1" presStyleCnt="3">
        <dgm:presLayoutVars>
          <dgm:chPref val="3"/>
        </dgm:presLayoutVars>
      </dgm:prSet>
      <dgm:spPr/>
    </dgm:pt>
    <dgm:pt modelId="{A4EDF7B9-A1ED-47FD-AC0E-79026A1F1CEE}" type="pres">
      <dgm:prSet presAssocID="{850944CC-C25D-437D-89FB-09501EA714E4}" presName="level3hierChild" presStyleCnt="0"/>
      <dgm:spPr/>
    </dgm:pt>
    <dgm:pt modelId="{25878CD2-DD19-47C5-BF1C-9D40DF5DDAE9}" type="pres">
      <dgm:prSet presAssocID="{56CE95B4-C08E-4712-9345-A35F72598758}" presName="conn2-1" presStyleLbl="parChTrans1D2" presStyleIdx="1" presStyleCnt="2"/>
      <dgm:spPr/>
    </dgm:pt>
    <dgm:pt modelId="{0E5BE48C-75BD-40D8-862E-838D9F72FD91}" type="pres">
      <dgm:prSet presAssocID="{56CE95B4-C08E-4712-9345-A35F72598758}" presName="connTx" presStyleLbl="parChTrans1D2" presStyleIdx="1" presStyleCnt="2"/>
      <dgm:spPr/>
    </dgm:pt>
    <dgm:pt modelId="{A96A85FD-197E-43B3-9657-A7FAAE206D18}" type="pres">
      <dgm:prSet presAssocID="{87502C44-2A00-4594-9E11-A718324DCC66}" presName="root2" presStyleCnt="0"/>
      <dgm:spPr/>
    </dgm:pt>
    <dgm:pt modelId="{CC6642BA-AB04-4905-B21B-195278756BD2}" type="pres">
      <dgm:prSet presAssocID="{87502C44-2A00-4594-9E11-A718324DCC66}" presName="LevelTwoTextNode" presStyleLbl="node2" presStyleIdx="1" presStyleCnt="2">
        <dgm:presLayoutVars>
          <dgm:chPref val="3"/>
        </dgm:presLayoutVars>
      </dgm:prSet>
      <dgm:spPr/>
    </dgm:pt>
    <dgm:pt modelId="{21E8D3BA-B655-4ABD-9E00-2EB1B69B5210}" type="pres">
      <dgm:prSet presAssocID="{87502C44-2A00-4594-9E11-A718324DCC66}" presName="level3hierChild" presStyleCnt="0"/>
      <dgm:spPr/>
    </dgm:pt>
    <dgm:pt modelId="{DC6BB208-3A3B-4141-BDB8-BBB373DB0806}" type="pres">
      <dgm:prSet presAssocID="{DF8D3923-8C9F-4E57-A784-E8CFD5F88555}" presName="conn2-1" presStyleLbl="parChTrans1D3" presStyleIdx="2" presStyleCnt="3"/>
      <dgm:spPr/>
    </dgm:pt>
    <dgm:pt modelId="{695A8146-4939-455D-B4EF-DF0611390494}" type="pres">
      <dgm:prSet presAssocID="{DF8D3923-8C9F-4E57-A784-E8CFD5F88555}" presName="connTx" presStyleLbl="parChTrans1D3" presStyleIdx="2" presStyleCnt="3"/>
      <dgm:spPr/>
    </dgm:pt>
    <dgm:pt modelId="{FA12C5C9-2237-4C6C-8467-C5AE679F46FE}" type="pres">
      <dgm:prSet presAssocID="{D8A987EE-C5C7-4062-BD56-863A401F38F9}" presName="root2" presStyleCnt="0"/>
      <dgm:spPr/>
    </dgm:pt>
    <dgm:pt modelId="{0A21FA8F-7867-4917-8A9C-586DE731899E}" type="pres">
      <dgm:prSet presAssocID="{D8A987EE-C5C7-4062-BD56-863A401F38F9}" presName="LevelTwoTextNode" presStyleLbl="node3" presStyleIdx="2" presStyleCnt="3">
        <dgm:presLayoutVars>
          <dgm:chPref val="3"/>
        </dgm:presLayoutVars>
      </dgm:prSet>
      <dgm:spPr/>
    </dgm:pt>
    <dgm:pt modelId="{18D1C355-F653-473E-9E74-CE31A6188AB6}" type="pres">
      <dgm:prSet presAssocID="{D8A987EE-C5C7-4062-BD56-863A401F38F9}" presName="level3hierChild" presStyleCnt="0"/>
      <dgm:spPr/>
    </dgm:pt>
  </dgm:ptLst>
  <dgm:cxnLst>
    <dgm:cxn modelId="{8FEFEB05-D473-4ABD-8DA7-11A81BA424EC}" type="presOf" srcId="{BADCF335-654D-440C-B8E0-4605EFE1FE0F}" destId="{69376969-0127-4C38-9774-5D4B74841380}" srcOrd="0" destOrd="0" presId="urn:microsoft.com/office/officeart/2005/8/layout/hierarchy2"/>
    <dgm:cxn modelId="{5C6F4307-625E-43B7-A7CF-1F66260AA53F}" type="presOf" srcId="{D8A987EE-C5C7-4062-BD56-863A401F38F9}" destId="{0A21FA8F-7867-4917-8A9C-586DE731899E}" srcOrd="0" destOrd="0" presId="urn:microsoft.com/office/officeart/2005/8/layout/hierarchy2"/>
    <dgm:cxn modelId="{BFBACE0E-9911-4FCA-B3EA-5814A4992722}" srcId="{87502C44-2A00-4594-9E11-A718324DCC66}" destId="{D8A987EE-C5C7-4062-BD56-863A401F38F9}" srcOrd="0" destOrd="0" parTransId="{DF8D3923-8C9F-4E57-A784-E8CFD5F88555}" sibTransId="{42833D70-8F61-44D9-A440-150EF018C4CC}"/>
    <dgm:cxn modelId="{2A6A6510-3E67-4C0B-B85E-FC6484A9E8C3}" type="presOf" srcId="{87502C44-2A00-4594-9E11-A718324DCC66}" destId="{CC6642BA-AB04-4905-B21B-195278756BD2}" srcOrd="0" destOrd="0" presId="urn:microsoft.com/office/officeart/2005/8/layout/hierarchy2"/>
    <dgm:cxn modelId="{BCE5DE2F-3CA7-4E56-931E-267E1AA34250}" type="presOf" srcId="{47286F35-E9B1-424F-8B02-F25D8B361C93}" destId="{F54EA502-D312-4759-B024-123BBF7E6FAF}" srcOrd="0" destOrd="0" presId="urn:microsoft.com/office/officeart/2005/8/layout/hierarchy2"/>
    <dgm:cxn modelId="{22CE483F-F662-4FF9-AC84-DE4A448D8A8C}" type="presOf" srcId="{DF8D3923-8C9F-4E57-A784-E8CFD5F88555}" destId="{DC6BB208-3A3B-4141-BDB8-BBB373DB0806}" srcOrd="0" destOrd="0" presId="urn:microsoft.com/office/officeart/2005/8/layout/hierarchy2"/>
    <dgm:cxn modelId="{4C0A265D-9C53-4EC6-A3D7-70B7BDB684C9}" srcId="{47286F35-E9B1-424F-8B02-F25D8B361C93}" destId="{87502C44-2A00-4594-9E11-A718324DCC66}" srcOrd="1" destOrd="0" parTransId="{56CE95B4-C08E-4712-9345-A35F72598758}" sibTransId="{818EBF3D-54D9-48CF-8958-9437A9C09E65}"/>
    <dgm:cxn modelId="{D415AB42-12B0-4838-B7A9-8A582059AD61}" srcId="{BADCF335-654D-440C-B8E0-4605EFE1FE0F}" destId="{47286F35-E9B1-424F-8B02-F25D8B361C93}" srcOrd="0" destOrd="0" parTransId="{2B03EE17-6299-49E9-BA27-952AF4E6B2CD}" sibTransId="{45A13544-643C-4ED6-9786-5FD032B67122}"/>
    <dgm:cxn modelId="{81AA3A6C-E756-4092-96D6-BF111B35CF6F}" type="presOf" srcId="{56CE95B4-C08E-4712-9345-A35F72598758}" destId="{25878CD2-DD19-47C5-BF1C-9D40DF5DDAE9}" srcOrd="0" destOrd="0" presId="urn:microsoft.com/office/officeart/2005/8/layout/hierarchy2"/>
    <dgm:cxn modelId="{315C7571-7DA4-4420-AA24-B51622A48D84}" srcId="{47286F35-E9B1-424F-8B02-F25D8B361C93}" destId="{FB6C047B-42AD-4DFD-B35F-25CD86358546}" srcOrd="0" destOrd="0" parTransId="{71E046BF-E1DA-459A-9D18-F5A4332775B2}" sibTransId="{B763D707-4DC2-44C9-8004-91DEB699C572}"/>
    <dgm:cxn modelId="{D6AE4057-8562-4FCC-BDD2-7F67D8B1929B}" type="presOf" srcId="{56CE95B4-C08E-4712-9345-A35F72598758}" destId="{0E5BE48C-75BD-40D8-862E-838D9F72FD91}" srcOrd="1" destOrd="0" presId="urn:microsoft.com/office/officeart/2005/8/layout/hierarchy2"/>
    <dgm:cxn modelId="{C720B17F-5711-41FB-9D49-5059B3DA8898}" type="presOf" srcId="{71E046BF-E1DA-459A-9D18-F5A4332775B2}" destId="{7B48A01A-42AE-4456-BB3A-F2E962E9BD3A}" srcOrd="1" destOrd="0" presId="urn:microsoft.com/office/officeart/2005/8/layout/hierarchy2"/>
    <dgm:cxn modelId="{691F7295-06C9-418B-B7EC-7ECAD392933D}" type="presOf" srcId="{850944CC-C25D-437D-89FB-09501EA714E4}" destId="{3E8C3637-0A97-4A56-8BA2-703F3A57D3A9}" srcOrd="0" destOrd="0" presId="urn:microsoft.com/office/officeart/2005/8/layout/hierarchy2"/>
    <dgm:cxn modelId="{66677EAB-F583-4041-B54F-37387E145AAD}" type="presOf" srcId="{7948DFA4-F38B-4067-AFFA-3EDDBCE21AE6}" destId="{47CFF3ED-8233-4D4D-AE05-C31EF8FC22C9}" srcOrd="1" destOrd="0" presId="urn:microsoft.com/office/officeart/2005/8/layout/hierarchy2"/>
    <dgm:cxn modelId="{3A8F4FAE-A7D6-4674-B949-6D099D56C78E}" type="presOf" srcId="{5E19889A-2FF2-409B-A712-F12A464762EA}" destId="{DED6FB85-E750-4F67-A23C-48C391747B23}" srcOrd="0" destOrd="0" presId="urn:microsoft.com/office/officeart/2005/8/layout/hierarchy2"/>
    <dgm:cxn modelId="{26B2A4B8-1357-4B8B-A964-373D6C04CA83}" type="presOf" srcId="{71E046BF-E1DA-459A-9D18-F5A4332775B2}" destId="{0C0C5502-EBC3-4CA7-9BDF-3F5EE2A8AF7C}" srcOrd="0" destOrd="0" presId="urn:microsoft.com/office/officeart/2005/8/layout/hierarchy2"/>
    <dgm:cxn modelId="{A820BFBB-2F6C-47FE-971E-178D423E08BF}" type="presOf" srcId="{FB6C047B-42AD-4DFD-B35F-25CD86358546}" destId="{50531140-9B2F-4579-80BD-1C713B74F6E7}" srcOrd="0" destOrd="0" presId="urn:microsoft.com/office/officeart/2005/8/layout/hierarchy2"/>
    <dgm:cxn modelId="{54F80BC3-3169-4E26-93F3-C1D37C9C4587}" type="presOf" srcId="{DA2D05DA-6DC7-4A50-A3E7-600D8B2D271F}" destId="{78CBC522-11BA-42C9-964F-F890DE0E8F07}" srcOrd="1" destOrd="0" presId="urn:microsoft.com/office/officeart/2005/8/layout/hierarchy2"/>
    <dgm:cxn modelId="{DD3DEAC9-0DFD-4C73-9E0C-D12EF86F6118}" type="presOf" srcId="{7948DFA4-F38B-4067-AFFA-3EDDBCE21AE6}" destId="{D8CDF5A1-AA7E-4EDE-AF8C-DCC55BB1FCC1}" srcOrd="0" destOrd="0" presId="urn:microsoft.com/office/officeart/2005/8/layout/hierarchy2"/>
    <dgm:cxn modelId="{C34C8FCB-DD27-45EE-989D-E81F4DAC4B46}" type="presOf" srcId="{DA2D05DA-6DC7-4A50-A3E7-600D8B2D271F}" destId="{C2959B0B-D261-43AF-9A3A-EC31F198A5ED}" srcOrd="0" destOrd="0" presId="urn:microsoft.com/office/officeart/2005/8/layout/hierarchy2"/>
    <dgm:cxn modelId="{9F1123D5-FF47-4091-8AB6-E1DDF610C84D}" srcId="{FB6C047B-42AD-4DFD-B35F-25CD86358546}" destId="{5E19889A-2FF2-409B-A712-F12A464762EA}" srcOrd="0" destOrd="0" parTransId="{7948DFA4-F38B-4067-AFFA-3EDDBCE21AE6}" sibTransId="{6CD21BD7-4EC0-4D9D-B8C5-D3646789AD06}"/>
    <dgm:cxn modelId="{062FDBE0-CE8B-4F9D-90E7-ACEFA208224E}" srcId="{FB6C047B-42AD-4DFD-B35F-25CD86358546}" destId="{850944CC-C25D-437D-89FB-09501EA714E4}" srcOrd="1" destOrd="0" parTransId="{DA2D05DA-6DC7-4A50-A3E7-600D8B2D271F}" sibTransId="{F8BAD107-E7B6-4553-9A97-FA266903411C}"/>
    <dgm:cxn modelId="{ADC139E6-03E5-4C58-BADF-AC3A8DFDD287}" type="presOf" srcId="{DF8D3923-8C9F-4E57-A784-E8CFD5F88555}" destId="{695A8146-4939-455D-B4EF-DF0611390494}" srcOrd="1" destOrd="0" presId="urn:microsoft.com/office/officeart/2005/8/layout/hierarchy2"/>
    <dgm:cxn modelId="{6FF47C2C-45EB-48EB-8823-6E015F810E70}" type="presParOf" srcId="{69376969-0127-4C38-9774-5D4B74841380}" destId="{C9F31D87-470C-432F-BC88-DE6DCB9F0382}" srcOrd="0" destOrd="0" presId="urn:microsoft.com/office/officeart/2005/8/layout/hierarchy2"/>
    <dgm:cxn modelId="{97EC5005-CFE1-4A22-ABBA-B9009EE67767}" type="presParOf" srcId="{C9F31D87-470C-432F-BC88-DE6DCB9F0382}" destId="{F54EA502-D312-4759-B024-123BBF7E6FAF}" srcOrd="0" destOrd="0" presId="urn:microsoft.com/office/officeart/2005/8/layout/hierarchy2"/>
    <dgm:cxn modelId="{1E13E3C5-F65A-4E13-88F7-ACB277D3A5DB}" type="presParOf" srcId="{C9F31D87-470C-432F-BC88-DE6DCB9F0382}" destId="{7EBF8A92-A419-4A7A-BAA9-4C9885933DB5}" srcOrd="1" destOrd="0" presId="urn:microsoft.com/office/officeart/2005/8/layout/hierarchy2"/>
    <dgm:cxn modelId="{C113B08D-98FC-4B2B-BCDC-8E3F1FC2E0BE}" type="presParOf" srcId="{7EBF8A92-A419-4A7A-BAA9-4C9885933DB5}" destId="{0C0C5502-EBC3-4CA7-9BDF-3F5EE2A8AF7C}" srcOrd="0" destOrd="0" presId="urn:microsoft.com/office/officeart/2005/8/layout/hierarchy2"/>
    <dgm:cxn modelId="{29B55F9C-41A0-4854-8309-E4529098B684}" type="presParOf" srcId="{0C0C5502-EBC3-4CA7-9BDF-3F5EE2A8AF7C}" destId="{7B48A01A-42AE-4456-BB3A-F2E962E9BD3A}" srcOrd="0" destOrd="0" presId="urn:microsoft.com/office/officeart/2005/8/layout/hierarchy2"/>
    <dgm:cxn modelId="{5D8E63DC-F93F-4894-B6E3-7FBD9279F288}" type="presParOf" srcId="{7EBF8A92-A419-4A7A-BAA9-4C9885933DB5}" destId="{9246F5BF-128C-4036-B713-FA9E724D93A8}" srcOrd="1" destOrd="0" presId="urn:microsoft.com/office/officeart/2005/8/layout/hierarchy2"/>
    <dgm:cxn modelId="{2B983517-B886-439E-AC18-1E3B8AF3FA2D}" type="presParOf" srcId="{9246F5BF-128C-4036-B713-FA9E724D93A8}" destId="{50531140-9B2F-4579-80BD-1C713B74F6E7}" srcOrd="0" destOrd="0" presId="urn:microsoft.com/office/officeart/2005/8/layout/hierarchy2"/>
    <dgm:cxn modelId="{4536ED28-A91A-475F-BDBB-869DA5FCD9B2}" type="presParOf" srcId="{9246F5BF-128C-4036-B713-FA9E724D93A8}" destId="{5B4AC089-9004-4C5A-A4B4-FFD77E7422E2}" srcOrd="1" destOrd="0" presId="urn:microsoft.com/office/officeart/2005/8/layout/hierarchy2"/>
    <dgm:cxn modelId="{B403061B-A9C5-4F24-83A0-21CEEE18B58B}" type="presParOf" srcId="{5B4AC089-9004-4C5A-A4B4-FFD77E7422E2}" destId="{D8CDF5A1-AA7E-4EDE-AF8C-DCC55BB1FCC1}" srcOrd="0" destOrd="0" presId="urn:microsoft.com/office/officeart/2005/8/layout/hierarchy2"/>
    <dgm:cxn modelId="{DE7CCF21-1996-41D5-AEED-85D7B8293EB5}" type="presParOf" srcId="{D8CDF5A1-AA7E-4EDE-AF8C-DCC55BB1FCC1}" destId="{47CFF3ED-8233-4D4D-AE05-C31EF8FC22C9}" srcOrd="0" destOrd="0" presId="urn:microsoft.com/office/officeart/2005/8/layout/hierarchy2"/>
    <dgm:cxn modelId="{42DEC454-9DE7-4D02-8212-E5602D8871F6}" type="presParOf" srcId="{5B4AC089-9004-4C5A-A4B4-FFD77E7422E2}" destId="{CE71DFD1-C52B-44E9-A27B-691F2BA76EB5}" srcOrd="1" destOrd="0" presId="urn:microsoft.com/office/officeart/2005/8/layout/hierarchy2"/>
    <dgm:cxn modelId="{CB03E05C-2C65-4200-B288-86B3B04629F3}" type="presParOf" srcId="{CE71DFD1-C52B-44E9-A27B-691F2BA76EB5}" destId="{DED6FB85-E750-4F67-A23C-48C391747B23}" srcOrd="0" destOrd="0" presId="urn:microsoft.com/office/officeart/2005/8/layout/hierarchy2"/>
    <dgm:cxn modelId="{D4060009-71AD-4C6C-8A29-9E369D6BDDE2}" type="presParOf" srcId="{CE71DFD1-C52B-44E9-A27B-691F2BA76EB5}" destId="{C30A7FBD-62C4-443A-99F1-2820E10713A2}" srcOrd="1" destOrd="0" presId="urn:microsoft.com/office/officeart/2005/8/layout/hierarchy2"/>
    <dgm:cxn modelId="{1D5236CB-9497-4C1D-B94B-C3DE0F29FE28}" type="presParOf" srcId="{5B4AC089-9004-4C5A-A4B4-FFD77E7422E2}" destId="{C2959B0B-D261-43AF-9A3A-EC31F198A5ED}" srcOrd="2" destOrd="0" presId="urn:microsoft.com/office/officeart/2005/8/layout/hierarchy2"/>
    <dgm:cxn modelId="{B3EF8F30-2104-435E-A8F1-3F85B391383E}" type="presParOf" srcId="{C2959B0B-D261-43AF-9A3A-EC31F198A5ED}" destId="{78CBC522-11BA-42C9-964F-F890DE0E8F07}" srcOrd="0" destOrd="0" presId="urn:microsoft.com/office/officeart/2005/8/layout/hierarchy2"/>
    <dgm:cxn modelId="{7502A6B1-FCE9-435B-8EC7-0910F071359E}" type="presParOf" srcId="{5B4AC089-9004-4C5A-A4B4-FFD77E7422E2}" destId="{E1BFA4F3-59AF-4D06-8606-D922F0147335}" srcOrd="3" destOrd="0" presId="urn:microsoft.com/office/officeart/2005/8/layout/hierarchy2"/>
    <dgm:cxn modelId="{D9491F3D-D2D2-4B8B-9649-BA9831FBD594}" type="presParOf" srcId="{E1BFA4F3-59AF-4D06-8606-D922F0147335}" destId="{3E8C3637-0A97-4A56-8BA2-703F3A57D3A9}" srcOrd="0" destOrd="0" presId="urn:microsoft.com/office/officeart/2005/8/layout/hierarchy2"/>
    <dgm:cxn modelId="{423B72AE-F635-407E-A410-EA264992FE3C}" type="presParOf" srcId="{E1BFA4F3-59AF-4D06-8606-D922F0147335}" destId="{A4EDF7B9-A1ED-47FD-AC0E-79026A1F1CEE}" srcOrd="1" destOrd="0" presId="urn:microsoft.com/office/officeart/2005/8/layout/hierarchy2"/>
    <dgm:cxn modelId="{632055E4-15EF-4D82-9922-B81D23FD0908}" type="presParOf" srcId="{7EBF8A92-A419-4A7A-BAA9-4C9885933DB5}" destId="{25878CD2-DD19-47C5-BF1C-9D40DF5DDAE9}" srcOrd="2" destOrd="0" presId="urn:microsoft.com/office/officeart/2005/8/layout/hierarchy2"/>
    <dgm:cxn modelId="{A973554E-F287-4B9C-B9BD-EB6FBA3A1E0F}" type="presParOf" srcId="{25878CD2-DD19-47C5-BF1C-9D40DF5DDAE9}" destId="{0E5BE48C-75BD-40D8-862E-838D9F72FD91}" srcOrd="0" destOrd="0" presId="urn:microsoft.com/office/officeart/2005/8/layout/hierarchy2"/>
    <dgm:cxn modelId="{044DF733-DCD4-4B41-BE85-E1F0DFACCAB7}" type="presParOf" srcId="{7EBF8A92-A419-4A7A-BAA9-4C9885933DB5}" destId="{A96A85FD-197E-43B3-9657-A7FAAE206D18}" srcOrd="3" destOrd="0" presId="urn:microsoft.com/office/officeart/2005/8/layout/hierarchy2"/>
    <dgm:cxn modelId="{EB5302F5-2091-4F5A-A01A-0EB23C83F922}" type="presParOf" srcId="{A96A85FD-197E-43B3-9657-A7FAAE206D18}" destId="{CC6642BA-AB04-4905-B21B-195278756BD2}" srcOrd="0" destOrd="0" presId="urn:microsoft.com/office/officeart/2005/8/layout/hierarchy2"/>
    <dgm:cxn modelId="{F4A89618-2766-4CB8-A879-BCBB815E1F2B}" type="presParOf" srcId="{A96A85FD-197E-43B3-9657-A7FAAE206D18}" destId="{21E8D3BA-B655-4ABD-9E00-2EB1B69B5210}" srcOrd="1" destOrd="0" presId="urn:microsoft.com/office/officeart/2005/8/layout/hierarchy2"/>
    <dgm:cxn modelId="{C30DBF3D-83C3-426B-9F4D-5B0299AA0E33}" type="presParOf" srcId="{21E8D3BA-B655-4ABD-9E00-2EB1B69B5210}" destId="{DC6BB208-3A3B-4141-BDB8-BBB373DB0806}" srcOrd="0" destOrd="0" presId="urn:microsoft.com/office/officeart/2005/8/layout/hierarchy2"/>
    <dgm:cxn modelId="{B73CFDB2-CCF9-4491-A0A2-6F2ADA6369A3}" type="presParOf" srcId="{DC6BB208-3A3B-4141-BDB8-BBB373DB0806}" destId="{695A8146-4939-455D-B4EF-DF0611390494}" srcOrd="0" destOrd="0" presId="urn:microsoft.com/office/officeart/2005/8/layout/hierarchy2"/>
    <dgm:cxn modelId="{F6A06AEF-88EA-42F2-9A96-E88E7BD4D39C}" type="presParOf" srcId="{21E8D3BA-B655-4ABD-9E00-2EB1B69B5210}" destId="{FA12C5C9-2237-4C6C-8467-C5AE679F46FE}" srcOrd="1" destOrd="0" presId="urn:microsoft.com/office/officeart/2005/8/layout/hierarchy2"/>
    <dgm:cxn modelId="{18CA2AA4-2F5A-40E0-84BA-509C8C809ADB}" type="presParOf" srcId="{FA12C5C9-2237-4C6C-8467-C5AE679F46FE}" destId="{0A21FA8F-7867-4917-8A9C-586DE731899E}" srcOrd="0" destOrd="0" presId="urn:microsoft.com/office/officeart/2005/8/layout/hierarchy2"/>
    <dgm:cxn modelId="{E215E173-724B-43F5-A2C4-3D001712E333}" type="presParOf" srcId="{FA12C5C9-2237-4C6C-8467-C5AE679F46FE}" destId="{18D1C355-F653-473E-9E74-CE31A6188AB6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BDC5F6A9-EED0-4BBA-A953-80B17F5BCBF6}">
      <dgm:prSet phldrT="[Texto]" custT="1"/>
      <dgm:spPr/>
      <dgm:t>
        <a:bodyPr/>
        <a:lstStyle/>
        <a:p>
          <a:r>
            <a:rPr lang="es-PE" sz="1400" b="1" dirty="0"/>
            <a:t>PROYECTOS PRINCIPALES</a:t>
          </a:r>
        </a:p>
      </dgm:t>
    </dgm:pt>
    <dgm:pt modelId="{4782F7E2-57BE-4540-80EC-6A607EC520E6}" type="parTrans" cxnId="{87BE8155-D3B3-4E48-AE98-BBD06A045B0F}">
      <dgm:prSet/>
      <dgm:spPr/>
      <dgm:t>
        <a:bodyPr/>
        <a:lstStyle/>
        <a:p>
          <a:endParaRPr lang="es-PE" sz="1800" b="1"/>
        </a:p>
      </dgm:t>
    </dgm:pt>
    <dgm:pt modelId="{455E78A3-1736-4520-A79C-0E94B2CA6DE7}" type="sibTrans" cxnId="{87BE8155-D3B3-4E48-AE98-BBD06A045B0F}">
      <dgm:prSet/>
      <dgm:spPr/>
      <dgm:t>
        <a:bodyPr/>
        <a:lstStyle/>
        <a:p>
          <a:endParaRPr lang="es-PE" sz="1800" b="1"/>
        </a:p>
      </dgm:t>
    </dgm:pt>
    <dgm:pt modelId="{E4B4F9F4-D240-4EF9-8A3E-0060574F32FE}">
      <dgm:prSet phldrT="[Texto]" custT="1"/>
      <dgm:spPr/>
      <dgm:t>
        <a:bodyPr/>
        <a:lstStyle/>
        <a:p>
          <a:r>
            <a:rPr lang="es-PE" sz="1400" b="1" dirty="0"/>
            <a:t>CAPECO - 2022</a:t>
          </a: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endParaRPr lang="es-PE" sz="1800" b="1"/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endParaRPr lang="es-PE" sz="1800" b="1"/>
        </a:p>
      </dgm:t>
    </dgm:pt>
    <dgm:pt modelId="{AE4AEB44-270D-4A4A-986A-D0C7568AB1FF}">
      <dgm:prSet phldrT="[Texto]" custT="1"/>
      <dgm:spPr/>
      <dgm:t>
        <a:bodyPr/>
        <a:lstStyle/>
        <a:p>
          <a:r>
            <a:rPr lang="es-PE" sz="1400" b="1" dirty="0"/>
            <a:t>INTELICA - 2022</a:t>
          </a:r>
        </a:p>
      </dgm:t>
    </dgm:pt>
    <dgm:pt modelId="{CC5A209D-1098-4CF6-9C19-CDBB138D5A53}" type="parTrans" cxnId="{9907F63F-2D0E-49BA-AF99-ECD91167A4E6}">
      <dgm:prSet/>
      <dgm:spPr/>
      <dgm:t>
        <a:bodyPr/>
        <a:lstStyle/>
        <a:p>
          <a:endParaRPr lang="es-PE" sz="1800" b="1"/>
        </a:p>
      </dgm:t>
    </dgm:pt>
    <dgm:pt modelId="{E0121813-ECA7-4956-955D-CB5080D47BD4}" type="sibTrans" cxnId="{9907F63F-2D0E-49BA-AF99-ECD91167A4E6}">
      <dgm:prSet/>
      <dgm:spPr/>
      <dgm:t>
        <a:bodyPr/>
        <a:lstStyle/>
        <a:p>
          <a:endParaRPr lang="es-PE" sz="1800" b="1"/>
        </a:p>
      </dgm:t>
    </dgm:pt>
    <dgm:pt modelId="{436966C0-1DA5-462C-A792-C39AB9A2902C}">
      <dgm:prSet phldrT="[Texto]" custT="1"/>
      <dgm:spPr/>
      <dgm:t>
        <a:bodyPr/>
        <a:lstStyle/>
        <a:p>
          <a:r>
            <a:rPr lang="es-PE" sz="1400" b="1" dirty="0"/>
            <a:t>David Narvaez</a:t>
          </a:r>
        </a:p>
      </dgm:t>
    </dgm:pt>
    <dgm:pt modelId="{ED56C5B0-A8EF-4171-B1D5-E243FAD33B08}" type="parTrans" cxnId="{D87A77AC-C6FB-4D62-BC60-E629744A8A98}">
      <dgm:prSet/>
      <dgm:spPr/>
      <dgm:t>
        <a:bodyPr/>
        <a:lstStyle/>
        <a:p>
          <a:endParaRPr lang="es-PE" sz="1800" b="1"/>
        </a:p>
      </dgm:t>
    </dgm:pt>
    <dgm:pt modelId="{4AE02011-9435-49BE-B7F0-50EE2832CAF5}" type="sibTrans" cxnId="{D87A77AC-C6FB-4D62-BC60-E629744A8A98}">
      <dgm:prSet/>
      <dgm:spPr/>
      <dgm:t>
        <a:bodyPr/>
        <a:lstStyle/>
        <a:p>
          <a:endParaRPr lang="es-PE" sz="1800" b="1"/>
        </a:p>
      </dgm:t>
    </dgm:pt>
    <dgm:pt modelId="{CD9B72B4-5551-4360-B639-5D4178A91D70}">
      <dgm:prSet phldrT="[Texto]" custT="1"/>
      <dgm:spPr/>
      <dgm:t>
        <a:bodyPr/>
        <a:lstStyle/>
        <a:p>
          <a:r>
            <a:rPr lang="es-PE" sz="1400" b="1" dirty="0"/>
            <a:t>Ruben Campos</a:t>
          </a:r>
        </a:p>
      </dgm:t>
    </dgm:pt>
    <dgm:pt modelId="{DF961A74-B5F5-4B93-9FA9-DE5DA87D9BD2}" type="parTrans" cxnId="{2CDE4B8F-A7C8-46C2-89F5-770E704A1111}">
      <dgm:prSet/>
      <dgm:spPr/>
      <dgm:t>
        <a:bodyPr/>
        <a:lstStyle/>
        <a:p>
          <a:endParaRPr lang="es-PE" sz="1800" b="1"/>
        </a:p>
      </dgm:t>
    </dgm:pt>
    <dgm:pt modelId="{E688171C-6AAA-44C2-B7ED-6D8EBAFA0E2E}" type="sibTrans" cxnId="{2CDE4B8F-A7C8-46C2-89F5-770E704A1111}">
      <dgm:prSet/>
      <dgm:spPr/>
      <dgm:t>
        <a:bodyPr/>
        <a:lstStyle/>
        <a:p>
          <a:endParaRPr lang="es-PE" sz="1800" b="1"/>
        </a:p>
      </dgm:t>
    </dgm:pt>
    <dgm:pt modelId="{D220A13B-8F1E-468F-82C7-70F47B586B66}">
      <dgm:prSet phldrT="[Texto]" custT="1"/>
      <dgm:spPr/>
      <dgm:t>
        <a:bodyPr/>
        <a:lstStyle/>
        <a:p>
          <a:r>
            <a:rPr lang="es-PE" sz="1400" b="1" dirty="0"/>
            <a:t>MINED – DSYO -2022</a:t>
          </a:r>
        </a:p>
      </dgm:t>
    </dgm:pt>
    <dgm:pt modelId="{C4DFA08D-1F8D-41AE-8ACE-B408E812044D}" type="parTrans" cxnId="{E643E3EE-4A32-4793-BEAE-6DB4A42E56DB}">
      <dgm:prSet/>
      <dgm:spPr/>
      <dgm:t>
        <a:bodyPr/>
        <a:lstStyle/>
        <a:p>
          <a:endParaRPr lang="es-PE" sz="1800" b="1"/>
        </a:p>
      </dgm:t>
    </dgm:pt>
    <dgm:pt modelId="{C464D18D-2861-41A3-949C-1FC6F18E3B02}" type="sibTrans" cxnId="{E643E3EE-4A32-4793-BEAE-6DB4A42E56DB}">
      <dgm:prSet/>
      <dgm:spPr/>
      <dgm:t>
        <a:bodyPr/>
        <a:lstStyle/>
        <a:p>
          <a:endParaRPr lang="es-PE" sz="1800" b="1"/>
        </a:p>
      </dgm:t>
    </dgm:pt>
    <dgm:pt modelId="{B9C4C665-1F09-4978-805F-7F4AB198114A}">
      <dgm:prSet phldrT="[Texto]" custT="1"/>
      <dgm:spPr/>
      <dgm:t>
        <a:bodyPr/>
        <a:lstStyle/>
        <a:p>
          <a:r>
            <a:rPr lang="es-PE" sz="1400" b="1" dirty="0"/>
            <a:t>SIPAN – UPC - 2022</a:t>
          </a:r>
        </a:p>
      </dgm:t>
    </dgm:pt>
    <dgm:pt modelId="{1A8A9C50-863B-4B42-A67C-6E56A8BED035}" type="parTrans" cxnId="{08507046-CE55-465B-8E58-E17601D970D8}">
      <dgm:prSet/>
      <dgm:spPr/>
      <dgm:t>
        <a:bodyPr/>
        <a:lstStyle/>
        <a:p>
          <a:endParaRPr lang="es-PE" sz="1800" b="1"/>
        </a:p>
      </dgm:t>
    </dgm:pt>
    <dgm:pt modelId="{849C8801-D575-4E9F-A6CE-1E0B345D788F}" type="sibTrans" cxnId="{08507046-CE55-465B-8E58-E17601D970D8}">
      <dgm:prSet/>
      <dgm:spPr/>
      <dgm:t>
        <a:bodyPr/>
        <a:lstStyle/>
        <a:p>
          <a:endParaRPr lang="es-PE" sz="1800" b="1"/>
        </a:p>
      </dgm:t>
    </dgm:pt>
    <dgm:pt modelId="{98685474-342B-4776-925B-4D5684551333}">
      <dgm:prSet phldrT="[Texto]" custT="1"/>
      <dgm:spPr/>
      <dgm:t>
        <a:bodyPr/>
        <a:lstStyle/>
        <a:p>
          <a:r>
            <a:rPr lang="es-PE" sz="1400" b="1" dirty="0"/>
            <a:t>Leandro Coronel</a:t>
          </a:r>
        </a:p>
      </dgm:t>
    </dgm:pt>
    <dgm:pt modelId="{1C5B7485-BE1A-44CA-8B64-16EDA3A4FA5C}" type="parTrans" cxnId="{45728956-CE79-417D-AC3F-81DA48CFCF3E}">
      <dgm:prSet/>
      <dgm:spPr/>
      <dgm:t>
        <a:bodyPr/>
        <a:lstStyle/>
        <a:p>
          <a:endParaRPr lang="es-PE" sz="1800" b="1"/>
        </a:p>
      </dgm:t>
    </dgm:pt>
    <dgm:pt modelId="{58ACF02C-C437-4EC2-A187-AFAD8EBFEE3C}" type="sibTrans" cxnId="{45728956-CE79-417D-AC3F-81DA48CFCF3E}">
      <dgm:prSet/>
      <dgm:spPr/>
      <dgm:t>
        <a:bodyPr/>
        <a:lstStyle/>
        <a:p>
          <a:endParaRPr lang="es-PE" sz="1800" b="1"/>
        </a:p>
      </dgm:t>
    </dgm:pt>
    <dgm:pt modelId="{F33A5EE2-A2CF-484E-8A7B-911A150884B2}">
      <dgm:prSet phldrT="[Texto]" custT="1"/>
      <dgm:spPr/>
      <dgm:t>
        <a:bodyPr/>
        <a:lstStyle/>
        <a:p>
          <a:r>
            <a:rPr lang="es-PE" sz="1400" b="1" dirty="0"/>
            <a:t>Walter Sosa</a:t>
          </a:r>
        </a:p>
      </dgm:t>
    </dgm:pt>
    <dgm:pt modelId="{958ADE94-E987-4249-84BC-8DBBAE879A52}" type="parTrans" cxnId="{CCB316DA-03F1-4CC3-A0E7-B03C87AE9B70}">
      <dgm:prSet/>
      <dgm:spPr/>
      <dgm:t>
        <a:bodyPr/>
        <a:lstStyle/>
        <a:p>
          <a:endParaRPr lang="es-PE"/>
        </a:p>
      </dgm:t>
    </dgm:pt>
    <dgm:pt modelId="{2191C938-E6F6-43BC-9B1E-B7BBCB382994}" type="sibTrans" cxnId="{CCB316DA-03F1-4CC3-A0E7-B03C87AE9B70}">
      <dgm:prSet/>
      <dgm:spPr/>
      <dgm:t>
        <a:bodyPr/>
        <a:lstStyle/>
        <a:p>
          <a:endParaRPr lang="es-PE"/>
        </a:p>
      </dgm:t>
    </dgm:pt>
    <dgm:pt modelId="{B70C7CDC-63CB-445B-AEC4-C1501F7BA860}">
      <dgm:prSet phldrT="[Texto]" custT="1"/>
      <dgm:spPr/>
      <dgm:t>
        <a:bodyPr/>
        <a:lstStyle/>
        <a:p>
          <a:r>
            <a:rPr lang="es-PE" sz="1400" b="1" dirty="0"/>
            <a:t>Jesus Salgado</a:t>
          </a:r>
        </a:p>
      </dgm:t>
    </dgm:pt>
    <dgm:pt modelId="{D1690AB5-434E-40B7-B982-9499266749A4}" type="parTrans" cxnId="{6CBD60D0-3044-46B4-AA18-1066DD8B8977}">
      <dgm:prSet/>
      <dgm:spPr/>
      <dgm:t>
        <a:bodyPr/>
        <a:lstStyle/>
        <a:p>
          <a:endParaRPr lang="es-PE"/>
        </a:p>
      </dgm:t>
    </dgm:pt>
    <dgm:pt modelId="{32784896-1064-4CE6-8031-C2B84CDADA74}" type="sibTrans" cxnId="{6CBD60D0-3044-46B4-AA18-1066DD8B8977}">
      <dgm:prSet/>
      <dgm:spPr/>
      <dgm:t>
        <a:bodyPr/>
        <a:lstStyle/>
        <a:p>
          <a:endParaRPr lang="es-PE"/>
        </a:p>
      </dgm:t>
    </dgm:pt>
    <dgm:pt modelId="{14E30B54-BAA4-4BCC-8F7D-17189670DBE7}">
      <dgm:prSet phldrT="[Texto]" custT="1"/>
      <dgm:spPr/>
      <dgm:t>
        <a:bodyPr/>
        <a:lstStyle/>
        <a:p>
          <a:r>
            <a:rPr lang="es-PE" sz="1400" b="1" dirty="0" err="1"/>
            <a:t>Geancarlo</a:t>
          </a:r>
          <a:r>
            <a:rPr lang="es-PE" sz="1400" b="1" dirty="0"/>
            <a:t> Silvestre</a:t>
          </a:r>
        </a:p>
      </dgm:t>
    </dgm:pt>
    <dgm:pt modelId="{43BDB3D2-DFB7-40C0-8C47-9797BCBFAED1}" type="parTrans" cxnId="{18B1AFE0-C90D-4B2D-8B30-283779AC8832}">
      <dgm:prSet/>
      <dgm:spPr/>
      <dgm:t>
        <a:bodyPr/>
        <a:lstStyle/>
        <a:p>
          <a:endParaRPr lang="es-PE"/>
        </a:p>
      </dgm:t>
    </dgm:pt>
    <dgm:pt modelId="{8E41CF65-EF38-4CCE-9800-4236B3371C64}" type="sibTrans" cxnId="{18B1AFE0-C90D-4B2D-8B30-283779AC8832}">
      <dgm:prSet/>
      <dgm:spPr/>
      <dgm:t>
        <a:bodyPr/>
        <a:lstStyle/>
        <a:p>
          <a:endParaRPr lang="es-PE"/>
        </a:p>
      </dgm:t>
    </dgm:pt>
    <dgm:pt modelId="{0929002E-3CFB-46F1-9DED-701E6BDDBBE5}">
      <dgm:prSet phldrT="[Texto]" custT="1"/>
      <dgm:spPr/>
      <dgm:t>
        <a:bodyPr/>
        <a:lstStyle/>
        <a:p>
          <a:r>
            <a:rPr lang="es-PE" sz="1400" b="1" dirty="0"/>
            <a:t>Jhonatan Flores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endParaRPr lang="es-PE"/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endParaRPr lang="es-PE"/>
        </a:p>
      </dgm:t>
    </dgm:pt>
    <dgm:pt modelId="{A0D1D621-DA49-4B24-9D22-997E3493B32D}">
      <dgm:prSet phldrT="[Texto]" custT="1"/>
      <dgm:spPr/>
      <dgm:t>
        <a:bodyPr/>
        <a:lstStyle/>
        <a:p>
          <a:r>
            <a:rPr lang="es-PE" sz="1400" b="1" dirty="0"/>
            <a:t>Antonio Tolosa</a:t>
          </a:r>
        </a:p>
      </dgm:t>
    </dgm:pt>
    <dgm:pt modelId="{E3ECB5E8-A935-4CFC-8698-EA5FF877B4E3}" type="parTrans" cxnId="{0E4F96DE-D09C-4EC4-8B90-C4C5FAC82807}">
      <dgm:prSet/>
      <dgm:spPr/>
      <dgm:t>
        <a:bodyPr/>
        <a:lstStyle/>
        <a:p>
          <a:endParaRPr lang="es-PE"/>
        </a:p>
      </dgm:t>
    </dgm:pt>
    <dgm:pt modelId="{EAEA91CA-D5DB-4CEF-B363-98AB51DD8415}" type="sibTrans" cxnId="{0E4F96DE-D09C-4EC4-8B90-C4C5FAC82807}">
      <dgm:prSet/>
      <dgm:spPr/>
      <dgm:t>
        <a:bodyPr/>
        <a:lstStyle/>
        <a:p>
          <a:endParaRPr lang="es-PE"/>
        </a:p>
      </dgm:t>
    </dgm:pt>
    <dgm:pt modelId="{D695EA72-92B6-43CD-B117-542575ED7141}">
      <dgm:prSet phldrT="[Texto]" custT="1"/>
      <dgm:spPr/>
      <dgm:t>
        <a:bodyPr/>
        <a:lstStyle/>
        <a:p>
          <a:r>
            <a:rPr lang="es-PE" sz="1400" b="1" dirty="0"/>
            <a:t>Giovanni F.</a:t>
          </a:r>
        </a:p>
      </dgm:t>
    </dgm:pt>
    <dgm:pt modelId="{02097B8B-4AD9-4CB7-BB3C-5DF9BFA3737C}" type="parTrans" cxnId="{D456D87E-32D5-45CB-A492-F284CDC20F36}">
      <dgm:prSet/>
      <dgm:spPr/>
      <dgm:t>
        <a:bodyPr/>
        <a:lstStyle/>
        <a:p>
          <a:endParaRPr lang="es-PE"/>
        </a:p>
      </dgm:t>
    </dgm:pt>
    <dgm:pt modelId="{5C9178AC-BDC4-48BE-A594-B56AEBD0D7FA}" type="sibTrans" cxnId="{D456D87E-32D5-45CB-A492-F284CDC20F36}">
      <dgm:prSet/>
      <dgm:spPr/>
      <dgm:t>
        <a:bodyPr/>
        <a:lstStyle/>
        <a:p>
          <a:endParaRPr lang="es-PE"/>
        </a:p>
      </dgm:t>
    </dgm:pt>
    <dgm:pt modelId="{086D07B9-C0F3-4710-9F3E-98A91CB5AB59}">
      <dgm:prSet phldrT="[Texto]" custT="1"/>
      <dgm:spPr/>
      <dgm:t>
        <a:bodyPr/>
        <a:lstStyle/>
        <a:p>
          <a:r>
            <a:rPr lang="es-PE" sz="1400" b="1" dirty="0"/>
            <a:t>Antonio Tolosa</a:t>
          </a:r>
        </a:p>
      </dgm:t>
    </dgm:pt>
    <dgm:pt modelId="{74AA338D-8979-4078-96DC-157B34DEC6ED}" type="parTrans" cxnId="{C573841C-296C-47DA-87D9-42BF97F9578E}">
      <dgm:prSet/>
      <dgm:spPr/>
      <dgm:t>
        <a:bodyPr/>
        <a:lstStyle/>
        <a:p>
          <a:endParaRPr lang="es-PE"/>
        </a:p>
      </dgm:t>
    </dgm:pt>
    <dgm:pt modelId="{56E419FB-B8DC-49C3-9E55-4ADD4200B497}" type="sibTrans" cxnId="{C573841C-296C-47DA-87D9-42BF97F9578E}">
      <dgm:prSet/>
      <dgm:spPr/>
      <dgm:t>
        <a:bodyPr/>
        <a:lstStyle/>
        <a:p>
          <a:endParaRPr lang="es-PE"/>
        </a:p>
      </dgm:t>
    </dgm:pt>
    <dgm:pt modelId="{BE687275-8397-4EF9-B6E2-1BF3E4C48420}">
      <dgm:prSet phldrT="[Texto]" custT="1"/>
      <dgm:spPr/>
      <dgm:t>
        <a:bodyPr/>
        <a:lstStyle/>
        <a:p>
          <a:r>
            <a:rPr lang="es-PE" sz="1400" b="1" dirty="0"/>
            <a:t>Silvestre Acosta</a:t>
          </a:r>
        </a:p>
      </dgm:t>
    </dgm:pt>
    <dgm:pt modelId="{C66EEBF6-FECB-48CC-A1A7-E43C1E54BA0B}" type="parTrans" cxnId="{23781401-55CF-466E-AD03-455A6C5BB3D5}">
      <dgm:prSet/>
      <dgm:spPr/>
      <dgm:t>
        <a:bodyPr/>
        <a:lstStyle/>
        <a:p>
          <a:endParaRPr lang="es-PE"/>
        </a:p>
      </dgm:t>
    </dgm:pt>
    <dgm:pt modelId="{E280742C-1328-4111-BAF8-D083E097294C}" type="sibTrans" cxnId="{23781401-55CF-466E-AD03-455A6C5BB3D5}">
      <dgm:prSet/>
      <dgm:spPr/>
      <dgm:t>
        <a:bodyPr/>
        <a:lstStyle/>
        <a:p>
          <a:endParaRPr lang="es-PE"/>
        </a:p>
      </dgm:t>
    </dgm:pt>
    <dgm:pt modelId="{BCB523D8-A888-42BA-A806-A92D8845FA2D}">
      <dgm:prSet phldrT="[Texto]" custT="1"/>
      <dgm:spPr/>
      <dgm:t>
        <a:bodyPr/>
        <a:lstStyle/>
        <a:p>
          <a:r>
            <a:rPr lang="es-PE" sz="1400" b="1" dirty="0" err="1"/>
            <a:t>Ivan</a:t>
          </a:r>
          <a:endParaRPr lang="es-PE" sz="1400" b="1" dirty="0"/>
        </a:p>
      </dgm:t>
    </dgm:pt>
    <dgm:pt modelId="{8BDB2EBE-F5DA-47E0-90BC-78366CE7ABA7}" type="parTrans" cxnId="{1F3CC0C0-CCAD-4204-B060-154D650918D8}">
      <dgm:prSet/>
      <dgm:spPr/>
      <dgm:t>
        <a:bodyPr/>
        <a:lstStyle/>
        <a:p>
          <a:endParaRPr lang="es-PE"/>
        </a:p>
      </dgm:t>
    </dgm:pt>
    <dgm:pt modelId="{2BBC525F-8ED7-48F9-A53C-D7E8F98C0FDD}" type="sibTrans" cxnId="{1F3CC0C0-CCAD-4204-B060-154D650918D8}">
      <dgm:prSet/>
      <dgm:spPr/>
      <dgm:t>
        <a:bodyPr/>
        <a:lstStyle/>
        <a:p>
          <a:endParaRPr lang="es-PE"/>
        </a:p>
      </dgm:t>
    </dgm:pt>
    <dgm:pt modelId="{ACD806BF-F1A9-459B-80ED-3E6C6DF22932}">
      <dgm:prSet phldrT="[Texto]" custT="1"/>
      <dgm:spPr/>
      <dgm:t>
        <a:bodyPr/>
        <a:lstStyle/>
        <a:p>
          <a:r>
            <a:rPr lang="es-PE" sz="1400" b="1" dirty="0"/>
            <a:t>Luis Vasquez</a:t>
          </a:r>
        </a:p>
      </dgm:t>
    </dgm:pt>
    <dgm:pt modelId="{7440AF21-5B40-4166-942C-627521F685B7}" type="parTrans" cxnId="{B12EE2FB-6B16-4357-A334-291C17AFD9BD}">
      <dgm:prSet/>
      <dgm:spPr/>
      <dgm:t>
        <a:bodyPr/>
        <a:lstStyle/>
        <a:p>
          <a:endParaRPr lang="es-PE"/>
        </a:p>
      </dgm:t>
    </dgm:pt>
    <dgm:pt modelId="{7DD94B2C-619E-4562-BF10-329D0019BB8C}" type="sibTrans" cxnId="{B12EE2FB-6B16-4357-A334-291C17AFD9BD}">
      <dgm:prSet/>
      <dgm:spPr/>
      <dgm:t>
        <a:bodyPr/>
        <a:lstStyle/>
        <a:p>
          <a:endParaRPr lang="es-PE"/>
        </a:p>
      </dgm:t>
    </dgm:pt>
    <dgm:pt modelId="{7083A081-C47B-4C38-B0D7-7757D8FF67B8}">
      <dgm:prSet phldrT="[Texto]" custT="1"/>
      <dgm:spPr/>
      <dgm:t>
        <a:bodyPr/>
        <a:lstStyle/>
        <a:p>
          <a:r>
            <a:rPr lang="es-PE" sz="1400" b="1" dirty="0"/>
            <a:t>Emely Ambrosio</a:t>
          </a:r>
        </a:p>
      </dgm:t>
    </dgm:pt>
    <dgm:pt modelId="{3F8228D7-AF64-4215-8956-E18BB0A1ED8D}" type="parTrans" cxnId="{11A1953D-EC6D-41DC-9C7F-CFF3EF71A401}">
      <dgm:prSet/>
      <dgm:spPr/>
      <dgm:t>
        <a:bodyPr/>
        <a:lstStyle/>
        <a:p>
          <a:endParaRPr lang="es-PE"/>
        </a:p>
      </dgm:t>
    </dgm:pt>
    <dgm:pt modelId="{59DD2DF4-55AC-46F2-90C4-D2CFB21BFFA2}" type="sibTrans" cxnId="{11A1953D-EC6D-41DC-9C7F-CFF3EF71A401}">
      <dgm:prSet/>
      <dgm:spPr/>
      <dgm:t>
        <a:bodyPr/>
        <a:lstStyle/>
        <a:p>
          <a:endParaRPr lang="es-PE"/>
        </a:p>
      </dgm:t>
    </dgm:pt>
    <dgm:pt modelId="{2E090F9B-4901-49B9-880E-63C84E71D859}">
      <dgm:prSet phldrT="[Texto]" custT="1"/>
      <dgm:spPr/>
      <dgm:t>
        <a:bodyPr/>
        <a:lstStyle/>
        <a:p>
          <a:r>
            <a:rPr lang="es-PE" sz="1400" b="1" dirty="0"/>
            <a:t>Silvestre Acosta</a:t>
          </a:r>
        </a:p>
      </dgm:t>
    </dgm:pt>
    <dgm:pt modelId="{60809221-6C97-4C47-A15A-6AC9F6D2F20E}" type="parTrans" cxnId="{7F3A9E6E-0D76-4AB2-980D-3C42B196E683}">
      <dgm:prSet/>
      <dgm:spPr/>
      <dgm:t>
        <a:bodyPr/>
        <a:lstStyle/>
        <a:p>
          <a:endParaRPr lang="es-PE"/>
        </a:p>
      </dgm:t>
    </dgm:pt>
    <dgm:pt modelId="{6FE0B984-2319-41EB-9715-656932E61F76}" type="sibTrans" cxnId="{7F3A9E6E-0D76-4AB2-980D-3C42B196E683}">
      <dgm:prSet/>
      <dgm:spPr/>
      <dgm:t>
        <a:bodyPr/>
        <a:lstStyle/>
        <a:p>
          <a:endParaRPr lang="es-PE"/>
        </a:p>
      </dgm:t>
    </dgm:pt>
    <dgm:pt modelId="{DBD020BB-C8E4-41BE-831B-07DBAD3A3341}">
      <dgm:prSet phldrT="[Texto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s-PE" sz="1400" b="1" dirty="0"/>
            <a:t>Said</a:t>
          </a:r>
        </a:p>
      </dgm:t>
    </dgm:pt>
    <dgm:pt modelId="{6ED80765-13B6-474E-93E9-07AA1EE5D7DD}" type="parTrans" cxnId="{147DDC9D-106C-4AC6-A11C-94319DDF373F}">
      <dgm:prSet/>
      <dgm:spPr/>
      <dgm:t>
        <a:bodyPr/>
        <a:lstStyle/>
        <a:p>
          <a:endParaRPr lang="es-PE"/>
        </a:p>
      </dgm:t>
    </dgm:pt>
    <dgm:pt modelId="{A59EA745-DE2D-4379-A10E-04EC84F78880}" type="sibTrans" cxnId="{147DDC9D-106C-4AC6-A11C-94319DDF373F}">
      <dgm:prSet/>
      <dgm:spPr/>
      <dgm:t>
        <a:bodyPr/>
        <a:lstStyle/>
        <a:p>
          <a:endParaRPr lang="es-PE"/>
        </a:p>
      </dgm:t>
    </dgm:pt>
    <dgm:pt modelId="{4B2DA0F2-A21E-458A-AF50-29E1F87D63B3}">
      <dgm:prSet phldrT="[Texto]" custT="1"/>
      <dgm:spPr/>
      <dgm:t>
        <a:bodyPr/>
        <a:lstStyle/>
        <a:p>
          <a:r>
            <a:rPr lang="es-PE" sz="1400" b="1" dirty="0"/>
            <a:t>UCV – USIL Julio 2022</a:t>
          </a:r>
        </a:p>
      </dgm:t>
    </dgm:pt>
    <dgm:pt modelId="{E6E7FACA-BFAB-4BDC-9E11-4A4A90C6A50B}" type="parTrans" cxnId="{88E41928-4551-4984-8780-DF2C4F4E460B}">
      <dgm:prSet/>
      <dgm:spPr/>
      <dgm:t>
        <a:bodyPr/>
        <a:lstStyle/>
        <a:p>
          <a:endParaRPr lang="es-PE"/>
        </a:p>
      </dgm:t>
    </dgm:pt>
    <dgm:pt modelId="{850464BF-AC37-4B15-9E8C-FF3798F16C47}" type="sibTrans" cxnId="{88E41928-4551-4984-8780-DF2C4F4E460B}">
      <dgm:prSet/>
      <dgm:spPr/>
      <dgm:t>
        <a:bodyPr/>
        <a:lstStyle/>
        <a:p>
          <a:endParaRPr lang="es-PE"/>
        </a:p>
      </dgm:t>
    </dgm:pt>
    <dgm:pt modelId="{486C129E-19BA-42F5-AD85-4C9625721C2E}">
      <dgm:prSet phldrT="[Texto]" custT="1"/>
      <dgm:spPr/>
      <dgm:t>
        <a:bodyPr/>
        <a:lstStyle/>
        <a:p>
          <a:r>
            <a:rPr lang="es-PE" sz="1400" b="1" dirty="0"/>
            <a:t>Carmen Abad</a:t>
          </a: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endParaRPr lang="es-PE"/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endParaRPr lang="es-PE"/>
        </a:p>
      </dgm:t>
    </dgm:pt>
    <dgm:pt modelId="{580288E2-D4F3-4D26-8811-32AB05B4C204}">
      <dgm:prSet phldrT="[Texto]" custT="1"/>
      <dgm:spPr/>
      <dgm:t>
        <a:bodyPr/>
        <a:lstStyle/>
        <a:p>
          <a:r>
            <a:rPr lang="es-PE" sz="1400" b="1" dirty="0"/>
            <a:t>Pamela Rivas</a:t>
          </a:r>
        </a:p>
      </dgm:t>
    </dgm:pt>
    <dgm:pt modelId="{A04B93DC-41B9-4200-9944-57D8F0923B75}" type="parTrans" cxnId="{A4F69839-D1BC-4FAA-99BD-5146FDB13AEF}">
      <dgm:prSet/>
      <dgm:spPr/>
      <dgm:t>
        <a:bodyPr/>
        <a:lstStyle/>
        <a:p>
          <a:endParaRPr lang="es-PE"/>
        </a:p>
      </dgm:t>
    </dgm:pt>
    <dgm:pt modelId="{101F4446-8515-4797-BB3F-D22C6291FB38}" type="sibTrans" cxnId="{A4F69839-D1BC-4FAA-99BD-5146FDB13AEF}">
      <dgm:prSet/>
      <dgm:spPr/>
      <dgm:t>
        <a:bodyPr/>
        <a:lstStyle/>
        <a:p>
          <a:endParaRPr lang="es-PE"/>
        </a:p>
      </dgm:t>
    </dgm:pt>
    <dgm:pt modelId="{2DCD2D6B-DE13-488D-AA4C-10B76C11A358}">
      <dgm:prSet phldrT="[Texto]" custT="1"/>
      <dgm:spPr/>
      <dgm:t>
        <a:bodyPr/>
        <a:lstStyle/>
        <a:p>
          <a:r>
            <a:rPr lang="es-PE" sz="1400" b="1" dirty="0"/>
            <a:t>Kennedy Luna</a:t>
          </a:r>
        </a:p>
      </dgm:t>
    </dgm:pt>
    <dgm:pt modelId="{2EA67487-A445-47C6-AA2A-1C191A6CEBF6}" type="sibTrans" cxnId="{6D92AD93-A140-4742-9C58-3BB47AB400A1}">
      <dgm:prSet/>
      <dgm:spPr/>
      <dgm:t>
        <a:bodyPr/>
        <a:lstStyle/>
        <a:p>
          <a:endParaRPr lang="es-PE"/>
        </a:p>
      </dgm:t>
    </dgm:pt>
    <dgm:pt modelId="{27C15DD7-5348-4DAA-B4FF-B3764EC1B2A2}" type="parTrans" cxnId="{6D92AD93-A140-4742-9C58-3BB47AB400A1}">
      <dgm:prSet/>
      <dgm:spPr/>
      <dgm:t>
        <a:bodyPr/>
        <a:lstStyle/>
        <a:p>
          <a:endParaRPr lang="es-PE"/>
        </a:p>
      </dgm:t>
    </dgm:pt>
    <dgm:pt modelId="{0B438000-D3C7-4CEB-B5EF-3EAFCA0A785D}">
      <dgm:prSet phldrT="[Texto]" custT="1"/>
      <dgm:spPr/>
      <dgm:t>
        <a:bodyPr/>
        <a:lstStyle/>
        <a:p>
          <a:r>
            <a:rPr lang="es-PE" sz="1400" b="1" dirty="0"/>
            <a:t>Yakori Vallejos</a:t>
          </a:r>
        </a:p>
      </dgm:t>
    </dgm:pt>
    <dgm:pt modelId="{0213AB93-C772-4D06-B764-174CEABCD16E}" type="sibTrans" cxnId="{2DCE8E4C-1650-4E21-BF2F-B819C72A76C1}">
      <dgm:prSet/>
      <dgm:spPr/>
      <dgm:t>
        <a:bodyPr/>
        <a:lstStyle/>
        <a:p>
          <a:endParaRPr lang="es-PE"/>
        </a:p>
      </dgm:t>
    </dgm:pt>
    <dgm:pt modelId="{1839A269-8267-41A4-BDD9-F4B2E95DA32B}" type="parTrans" cxnId="{2DCE8E4C-1650-4E21-BF2F-B819C72A76C1}">
      <dgm:prSet/>
      <dgm:spPr/>
      <dgm:t>
        <a:bodyPr/>
        <a:lstStyle/>
        <a:p>
          <a:endParaRPr lang="es-PE"/>
        </a:p>
      </dgm:t>
    </dgm:pt>
    <dgm:pt modelId="{BA9ED9C7-5A5A-44C1-BC82-A7CC83DDFA57}">
      <dgm:prSet phldrT="[Texto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s-PE" sz="1400" b="1" dirty="0" err="1"/>
            <a:t>Saidi</a:t>
          </a:r>
          <a:endParaRPr lang="es-PE" sz="1400" b="1" dirty="0"/>
        </a:p>
      </dgm:t>
    </dgm:pt>
    <dgm:pt modelId="{1087897B-A7DE-4BA8-85C2-880BB290F12E}" type="sibTrans" cxnId="{F3783360-D2C4-4E09-B79F-CCA3E3C167EB}">
      <dgm:prSet/>
      <dgm:spPr/>
      <dgm:t>
        <a:bodyPr/>
        <a:lstStyle/>
        <a:p>
          <a:endParaRPr lang="es-PE"/>
        </a:p>
      </dgm:t>
    </dgm:pt>
    <dgm:pt modelId="{2818271B-C815-44FF-B7CA-520F2C7F9DBE}" type="parTrans" cxnId="{F3783360-D2C4-4E09-B79F-CCA3E3C167EB}">
      <dgm:prSet/>
      <dgm:spPr/>
      <dgm:t>
        <a:bodyPr/>
        <a:lstStyle/>
        <a:p>
          <a:endParaRPr lang="es-PE"/>
        </a:p>
      </dgm:t>
    </dgm:pt>
    <dgm:pt modelId="{38884569-228D-4A88-BABF-F9DB813AA82B}">
      <dgm:prSet phldrT="[Texto]" custT="1"/>
      <dgm:spPr/>
      <dgm:t>
        <a:bodyPr/>
        <a:lstStyle/>
        <a:p>
          <a:r>
            <a:rPr lang="es-PE" sz="1400" b="1" dirty="0"/>
            <a:t>EDUCA  - SGS- 2022</a:t>
          </a:r>
        </a:p>
      </dgm:t>
    </dgm:pt>
    <dgm:pt modelId="{10E9759F-34FE-48E5-81B1-0D0632F36026}" type="parTrans" cxnId="{A693C328-F81A-4DBD-A8CF-AD9785CABC8D}">
      <dgm:prSet/>
      <dgm:spPr/>
      <dgm:t>
        <a:bodyPr/>
        <a:lstStyle/>
        <a:p>
          <a:endParaRPr lang="es-PE"/>
        </a:p>
      </dgm:t>
    </dgm:pt>
    <dgm:pt modelId="{0DA5BBA1-47C3-4A04-8857-EA2E8DABAA14}" type="sibTrans" cxnId="{A693C328-F81A-4DBD-A8CF-AD9785CABC8D}">
      <dgm:prSet/>
      <dgm:spPr/>
      <dgm:t>
        <a:bodyPr/>
        <a:lstStyle/>
        <a:p>
          <a:endParaRPr lang="es-PE"/>
        </a:p>
      </dgm:t>
    </dgm:pt>
    <dgm:pt modelId="{FBEECE16-82BA-40C4-8609-4D3B8D357D9A}">
      <dgm:prSet phldrT="[Texto]" custT="1"/>
      <dgm:spPr/>
      <dgm:t>
        <a:bodyPr/>
        <a:lstStyle/>
        <a:p>
          <a:r>
            <a:rPr lang="es-PE" sz="1400" b="1" dirty="0"/>
            <a:t>Jordan</a:t>
          </a:r>
        </a:p>
      </dgm:t>
    </dgm:pt>
    <dgm:pt modelId="{6036ACEB-96A5-4659-A2C1-61C304103038}" type="parTrans" cxnId="{62192F4C-11D6-4581-ADDD-4B1C86AC386B}">
      <dgm:prSet/>
      <dgm:spPr/>
      <dgm:t>
        <a:bodyPr/>
        <a:lstStyle/>
        <a:p>
          <a:endParaRPr lang="es-PE"/>
        </a:p>
      </dgm:t>
    </dgm:pt>
    <dgm:pt modelId="{7115F84B-3DD1-470A-A409-D5E62C28DA16}" type="sibTrans" cxnId="{62192F4C-11D6-4581-ADDD-4B1C86AC386B}">
      <dgm:prSet/>
      <dgm:spPr/>
      <dgm:t>
        <a:bodyPr/>
        <a:lstStyle/>
        <a:p>
          <a:endParaRPr lang="es-PE"/>
        </a:p>
      </dgm:t>
    </dgm:pt>
    <dgm:pt modelId="{BB11D739-415C-4C5D-AB21-FE34A494BBF2}">
      <dgm:prSet phldrT="[Texto]" custT="1"/>
      <dgm:spPr/>
      <dgm:t>
        <a:bodyPr/>
        <a:lstStyle/>
        <a:p>
          <a:r>
            <a:rPr lang="es-PE" sz="1400" b="1" dirty="0"/>
            <a:t>Mijail</a:t>
          </a:r>
        </a:p>
      </dgm:t>
    </dgm:pt>
    <dgm:pt modelId="{8A6B88B7-1EF7-4EA3-A5FC-14EC10D105FD}" type="parTrans" cxnId="{23EB1DE2-3147-4C37-BC93-2E4DF2E22F48}">
      <dgm:prSet/>
      <dgm:spPr/>
      <dgm:t>
        <a:bodyPr/>
        <a:lstStyle/>
        <a:p>
          <a:endParaRPr lang="es-PE"/>
        </a:p>
      </dgm:t>
    </dgm:pt>
    <dgm:pt modelId="{65496EF2-6BB4-4412-BE59-B77ED3511EB2}" type="sibTrans" cxnId="{23EB1DE2-3147-4C37-BC93-2E4DF2E22F48}">
      <dgm:prSet/>
      <dgm:spPr/>
      <dgm:t>
        <a:bodyPr/>
        <a:lstStyle/>
        <a:p>
          <a:endParaRPr lang="es-PE"/>
        </a:p>
      </dgm:t>
    </dgm:pt>
    <dgm:pt modelId="{80D1FEA4-87C8-4218-B656-9A60136A23AD}">
      <dgm:prSet phldrT="[Texto]" custT="1"/>
      <dgm:spPr/>
      <dgm:t>
        <a:bodyPr/>
        <a:lstStyle/>
        <a:p>
          <a:r>
            <a:rPr lang="es-PE" sz="1400" b="1" dirty="0"/>
            <a:t>Tamara</a:t>
          </a:r>
        </a:p>
      </dgm:t>
    </dgm:pt>
    <dgm:pt modelId="{A0C58A81-B65A-434B-A889-E8B6EDB00E02}" type="parTrans" cxnId="{061F3511-1F7D-4B04-A7FE-185E373E0611}">
      <dgm:prSet/>
      <dgm:spPr/>
      <dgm:t>
        <a:bodyPr/>
        <a:lstStyle/>
        <a:p>
          <a:endParaRPr lang="es-PE"/>
        </a:p>
      </dgm:t>
    </dgm:pt>
    <dgm:pt modelId="{B9B78059-5B09-428E-ABEC-CE457E91D6AC}" type="sibTrans" cxnId="{061F3511-1F7D-4B04-A7FE-185E373E0611}">
      <dgm:prSet/>
      <dgm:spPr/>
      <dgm:t>
        <a:bodyPr/>
        <a:lstStyle/>
        <a:p>
          <a:endParaRPr lang="es-PE"/>
        </a:p>
      </dgm:t>
    </dgm:pt>
    <dgm:pt modelId="{6DFA1C72-2888-4EAB-9E69-3B8A8588105A}">
      <dgm:prSet phldrT="[Texto]" custT="1"/>
      <dgm:spPr/>
      <dgm:t>
        <a:bodyPr/>
        <a:lstStyle/>
        <a:p>
          <a:r>
            <a:rPr lang="es-PE" sz="1400" b="1" dirty="0" err="1"/>
            <a:t>Andres</a:t>
          </a:r>
          <a:endParaRPr lang="es-PE" sz="1400" b="1" dirty="0"/>
        </a:p>
      </dgm:t>
    </dgm:pt>
    <dgm:pt modelId="{11CE7ABE-2790-4A35-A3D6-12349D777A2F}" type="parTrans" cxnId="{FA827EAF-5148-4B46-BD12-420A1F7078DA}">
      <dgm:prSet/>
      <dgm:spPr/>
      <dgm:t>
        <a:bodyPr/>
        <a:lstStyle/>
        <a:p>
          <a:endParaRPr lang="es-PE"/>
        </a:p>
      </dgm:t>
    </dgm:pt>
    <dgm:pt modelId="{6A0FA9AF-8F43-4512-834D-F8F65732E39F}" type="sibTrans" cxnId="{FA827EAF-5148-4B46-BD12-420A1F7078DA}">
      <dgm:prSet/>
      <dgm:spPr/>
      <dgm:t>
        <a:bodyPr/>
        <a:lstStyle/>
        <a:p>
          <a:endParaRPr lang="es-PE"/>
        </a:p>
      </dgm:t>
    </dgm:pt>
    <dgm:pt modelId="{33918B2B-A56B-49E5-A99E-FB8B8DD62018}">
      <dgm:prSet phldrT="[Texto]" custT="1"/>
      <dgm:spPr/>
      <dgm:t>
        <a:bodyPr/>
        <a:lstStyle/>
        <a:p>
          <a:r>
            <a:rPr lang="es-PE" sz="1400" b="1" dirty="0"/>
            <a:t>Ariana</a:t>
          </a:r>
        </a:p>
      </dgm:t>
    </dgm:pt>
    <dgm:pt modelId="{771A4284-DC55-4997-B76F-6C9FAAC618D2}" type="parTrans" cxnId="{0546C747-6BC3-40AF-B2A3-D7C83A0FBE80}">
      <dgm:prSet/>
      <dgm:spPr/>
      <dgm:t>
        <a:bodyPr/>
        <a:lstStyle/>
        <a:p>
          <a:endParaRPr lang="es-PE"/>
        </a:p>
      </dgm:t>
    </dgm:pt>
    <dgm:pt modelId="{14DCBC2E-A508-4B64-981D-DA191D2B4917}" type="sibTrans" cxnId="{0546C747-6BC3-40AF-B2A3-D7C83A0FBE80}">
      <dgm:prSet/>
      <dgm:spPr/>
      <dgm:t>
        <a:bodyPr/>
        <a:lstStyle/>
        <a:p>
          <a:endParaRPr lang="es-PE"/>
        </a:p>
      </dgm:t>
    </dgm:pt>
    <dgm:pt modelId="{A9F15122-3257-495B-B691-215C55F3FF61}">
      <dgm:prSet phldrT="[Texto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s-PE" sz="1400" b="1" dirty="0"/>
            <a:t>Jhonatan</a:t>
          </a:r>
        </a:p>
      </dgm:t>
    </dgm:pt>
    <dgm:pt modelId="{0585FDDD-342A-46A7-AAB0-0788607E601B}" type="parTrans" cxnId="{8BF91AE4-08C1-4317-8DE1-B63F14370221}">
      <dgm:prSet/>
      <dgm:spPr/>
      <dgm:t>
        <a:bodyPr/>
        <a:lstStyle/>
        <a:p>
          <a:endParaRPr lang="es-PE"/>
        </a:p>
      </dgm:t>
    </dgm:pt>
    <dgm:pt modelId="{627DACC6-0DF8-4927-A667-E4B4170FD346}" type="sibTrans" cxnId="{8BF91AE4-08C1-4317-8DE1-B63F14370221}">
      <dgm:prSet/>
      <dgm:spPr/>
      <dgm:t>
        <a:bodyPr/>
        <a:lstStyle/>
        <a:p>
          <a:endParaRPr lang="es-PE"/>
        </a:p>
      </dgm:t>
    </dgm:pt>
    <dgm:pt modelId="{658C10FC-5D1D-43D7-803E-6A988F1EB739}">
      <dgm:prSet phldrT="[Texto]" custT="1"/>
      <dgm:spPr/>
      <dgm:t>
        <a:bodyPr/>
        <a:lstStyle/>
        <a:p>
          <a:r>
            <a:rPr lang="es-PE" sz="1400" b="1" dirty="0"/>
            <a:t>Silvestre</a:t>
          </a:r>
        </a:p>
      </dgm:t>
    </dgm:pt>
    <dgm:pt modelId="{A524C86B-3F51-4E92-A95A-7645CCC02FD3}" type="parTrans" cxnId="{FAFE5913-8EC5-441D-9BD2-56C5471FC710}">
      <dgm:prSet/>
      <dgm:spPr/>
      <dgm:t>
        <a:bodyPr/>
        <a:lstStyle/>
        <a:p>
          <a:endParaRPr lang="es-PE"/>
        </a:p>
      </dgm:t>
    </dgm:pt>
    <dgm:pt modelId="{050E9ADB-09E6-4C3A-B27B-12B91DC8FFDE}" type="sibTrans" cxnId="{FAFE5913-8EC5-441D-9BD2-56C5471FC710}">
      <dgm:prSet/>
      <dgm:spPr/>
      <dgm:t>
        <a:bodyPr/>
        <a:lstStyle/>
        <a:p>
          <a:endParaRPr lang="es-PE"/>
        </a:p>
      </dgm:t>
    </dgm:pt>
    <dgm:pt modelId="{B04A4DB1-8A65-405D-A9FF-F09FD21D735D}" type="pres">
      <dgm:prSet presAssocID="{7C456F81-39E8-4A49-BB92-6D9710B9C08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61B81A5-9CA1-4DBD-9B47-64E00DB700FB}" type="pres">
      <dgm:prSet presAssocID="{BDC5F6A9-EED0-4BBA-A953-80B17F5BCBF6}" presName="hierRoot1" presStyleCnt="0">
        <dgm:presLayoutVars>
          <dgm:hierBranch val="init"/>
        </dgm:presLayoutVars>
      </dgm:prSet>
      <dgm:spPr/>
    </dgm:pt>
    <dgm:pt modelId="{C5BEE213-8E9E-461D-87E2-99E5F4CA3D93}" type="pres">
      <dgm:prSet presAssocID="{BDC5F6A9-EED0-4BBA-A953-80B17F5BCBF6}" presName="rootComposite1" presStyleCnt="0"/>
      <dgm:spPr/>
    </dgm:pt>
    <dgm:pt modelId="{066E8638-6B43-4626-B2BC-6439D5CB6903}" type="pres">
      <dgm:prSet presAssocID="{BDC5F6A9-EED0-4BBA-A953-80B17F5BCBF6}" presName="rootText1" presStyleLbl="node0" presStyleIdx="0" presStyleCnt="1">
        <dgm:presLayoutVars>
          <dgm:chPref val="3"/>
        </dgm:presLayoutVars>
      </dgm:prSet>
      <dgm:spPr/>
    </dgm:pt>
    <dgm:pt modelId="{B2CF8861-D546-48BF-8605-A0B0689F336C}" type="pres">
      <dgm:prSet presAssocID="{BDC5F6A9-EED0-4BBA-A953-80B17F5BCBF6}" presName="rootConnector1" presStyleLbl="node1" presStyleIdx="0" presStyleCnt="0"/>
      <dgm:spPr/>
    </dgm:pt>
    <dgm:pt modelId="{4552F86E-171D-4D57-BF2B-065C2DC6E063}" type="pres">
      <dgm:prSet presAssocID="{BDC5F6A9-EED0-4BBA-A953-80B17F5BCBF6}" presName="hierChild2" presStyleCnt="0"/>
      <dgm:spPr/>
    </dgm:pt>
    <dgm:pt modelId="{E4707A64-0BF8-4865-8496-3A37C893985E}" type="pres">
      <dgm:prSet presAssocID="{686EE54E-2CC1-4ABF-B221-047AC1ECAA71}" presName="Name37" presStyleLbl="parChTrans1D2" presStyleIdx="0" presStyleCnt="6"/>
      <dgm:spPr/>
    </dgm:pt>
    <dgm:pt modelId="{D10E7A93-7D18-48F8-BE3A-761931A00B39}" type="pres">
      <dgm:prSet presAssocID="{E4B4F9F4-D240-4EF9-8A3E-0060574F32FE}" presName="hierRoot2" presStyleCnt="0">
        <dgm:presLayoutVars>
          <dgm:hierBranch val="init"/>
        </dgm:presLayoutVars>
      </dgm:prSet>
      <dgm:spPr/>
    </dgm:pt>
    <dgm:pt modelId="{C1D3207F-CD32-4B7F-8924-6C080651588E}" type="pres">
      <dgm:prSet presAssocID="{E4B4F9F4-D240-4EF9-8A3E-0060574F32FE}" presName="rootComposite" presStyleCnt="0"/>
      <dgm:spPr/>
    </dgm:pt>
    <dgm:pt modelId="{C0FF33DF-CA61-43D8-9567-8947149FFC4D}" type="pres">
      <dgm:prSet presAssocID="{E4B4F9F4-D240-4EF9-8A3E-0060574F32FE}" presName="rootText" presStyleLbl="node2" presStyleIdx="0" presStyleCnt="6">
        <dgm:presLayoutVars>
          <dgm:chPref val="3"/>
        </dgm:presLayoutVars>
      </dgm:prSet>
      <dgm:spPr/>
    </dgm:pt>
    <dgm:pt modelId="{E58EEF2C-ECD0-400C-98A2-66555E0AE16C}" type="pres">
      <dgm:prSet presAssocID="{E4B4F9F4-D240-4EF9-8A3E-0060574F32FE}" presName="rootConnector" presStyleLbl="node2" presStyleIdx="0" presStyleCnt="6"/>
      <dgm:spPr/>
    </dgm:pt>
    <dgm:pt modelId="{E5F10C7B-88F2-4979-B2F9-253C6A93E146}" type="pres">
      <dgm:prSet presAssocID="{E4B4F9F4-D240-4EF9-8A3E-0060574F32FE}" presName="hierChild4" presStyleCnt="0"/>
      <dgm:spPr/>
    </dgm:pt>
    <dgm:pt modelId="{4BF69E96-A327-470A-91D0-B9D87C73E236}" type="pres">
      <dgm:prSet presAssocID="{DBDF2E7B-215A-4B79-8F34-A839D73F2DE2}" presName="Name37" presStyleLbl="parChTrans1D3" presStyleIdx="0" presStyleCnt="28"/>
      <dgm:spPr/>
    </dgm:pt>
    <dgm:pt modelId="{976C7FA3-97C3-4A7E-88B2-F4979C90C7F8}" type="pres">
      <dgm:prSet presAssocID="{486C129E-19BA-42F5-AD85-4C9625721C2E}" presName="hierRoot2" presStyleCnt="0">
        <dgm:presLayoutVars>
          <dgm:hierBranch val="init"/>
        </dgm:presLayoutVars>
      </dgm:prSet>
      <dgm:spPr/>
    </dgm:pt>
    <dgm:pt modelId="{262B163F-B9FE-4F1D-86AE-26DEE01392C6}" type="pres">
      <dgm:prSet presAssocID="{486C129E-19BA-42F5-AD85-4C9625721C2E}" presName="rootComposite" presStyleCnt="0"/>
      <dgm:spPr/>
    </dgm:pt>
    <dgm:pt modelId="{AA116131-4843-456E-94F9-5DA0799EF5AE}" type="pres">
      <dgm:prSet presAssocID="{486C129E-19BA-42F5-AD85-4C9625721C2E}" presName="rootText" presStyleLbl="node3" presStyleIdx="0" presStyleCnt="28">
        <dgm:presLayoutVars>
          <dgm:chPref val="3"/>
        </dgm:presLayoutVars>
      </dgm:prSet>
      <dgm:spPr/>
    </dgm:pt>
    <dgm:pt modelId="{4CACF079-4A9E-4E39-AC3E-B3B2254F3D5B}" type="pres">
      <dgm:prSet presAssocID="{486C129E-19BA-42F5-AD85-4C9625721C2E}" presName="rootConnector" presStyleLbl="node3" presStyleIdx="0" presStyleCnt="28"/>
      <dgm:spPr/>
    </dgm:pt>
    <dgm:pt modelId="{9EE62131-06C4-4CB0-AB39-35F80BA31F2E}" type="pres">
      <dgm:prSet presAssocID="{486C129E-19BA-42F5-AD85-4C9625721C2E}" presName="hierChild4" presStyleCnt="0"/>
      <dgm:spPr/>
    </dgm:pt>
    <dgm:pt modelId="{B395DEFB-2143-4E49-8CD7-62D996F24FCA}" type="pres">
      <dgm:prSet presAssocID="{486C129E-19BA-42F5-AD85-4C9625721C2E}" presName="hierChild5" presStyleCnt="0"/>
      <dgm:spPr/>
    </dgm:pt>
    <dgm:pt modelId="{B418CFC6-EEC4-43C6-8E52-74048ADBECAB}" type="pres">
      <dgm:prSet presAssocID="{A04B93DC-41B9-4200-9944-57D8F0923B75}" presName="Name37" presStyleLbl="parChTrans1D3" presStyleIdx="1" presStyleCnt="28"/>
      <dgm:spPr/>
    </dgm:pt>
    <dgm:pt modelId="{3E4D1AB0-7821-4F01-81D5-0CB3807BE046}" type="pres">
      <dgm:prSet presAssocID="{580288E2-D4F3-4D26-8811-32AB05B4C204}" presName="hierRoot2" presStyleCnt="0">
        <dgm:presLayoutVars>
          <dgm:hierBranch val="init"/>
        </dgm:presLayoutVars>
      </dgm:prSet>
      <dgm:spPr/>
    </dgm:pt>
    <dgm:pt modelId="{B18D9AF7-AC11-4CA9-912E-86EE6DF68466}" type="pres">
      <dgm:prSet presAssocID="{580288E2-D4F3-4D26-8811-32AB05B4C204}" presName="rootComposite" presStyleCnt="0"/>
      <dgm:spPr/>
    </dgm:pt>
    <dgm:pt modelId="{618E46EE-25E1-4888-AE7C-3C3332369B84}" type="pres">
      <dgm:prSet presAssocID="{580288E2-D4F3-4D26-8811-32AB05B4C204}" presName="rootText" presStyleLbl="node3" presStyleIdx="1" presStyleCnt="28">
        <dgm:presLayoutVars>
          <dgm:chPref val="3"/>
        </dgm:presLayoutVars>
      </dgm:prSet>
      <dgm:spPr/>
    </dgm:pt>
    <dgm:pt modelId="{47F87399-131C-4898-B6F1-0C4762A34AE4}" type="pres">
      <dgm:prSet presAssocID="{580288E2-D4F3-4D26-8811-32AB05B4C204}" presName="rootConnector" presStyleLbl="node3" presStyleIdx="1" presStyleCnt="28"/>
      <dgm:spPr/>
    </dgm:pt>
    <dgm:pt modelId="{A938E274-3CC9-4DEE-9898-C73494862AD1}" type="pres">
      <dgm:prSet presAssocID="{580288E2-D4F3-4D26-8811-32AB05B4C204}" presName="hierChild4" presStyleCnt="0"/>
      <dgm:spPr/>
    </dgm:pt>
    <dgm:pt modelId="{B67E434B-0D79-493D-AC4E-C0956D5EF23C}" type="pres">
      <dgm:prSet presAssocID="{580288E2-D4F3-4D26-8811-32AB05B4C204}" presName="hierChild5" presStyleCnt="0"/>
      <dgm:spPr/>
    </dgm:pt>
    <dgm:pt modelId="{178FC150-73BF-416D-A381-BD9D7ED3027A}" type="pres">
      <dgm:prSet presAssocID="{AD8E2242-6023-4FA1-A34B-BE65322F502E}" presName="Name37" presStyleLbl="parChTrans1D3" presStyleIdx="2" presStyleCnt="28"/>
      <dgm:spPr/>
    </dgm:pt>
    <dgm:pt modelId="{9A1741EC-5EDD-4501-BDC7-EEDF978CBF37}" type="pres">
      <dgm:prSet presAssocID="{0929002E-3CFB-46F1-9DED-701E6BDDBBE5}" presName="hierRoot2" presStyleCnt="0">
        <dgm:presLayoutVars>
          <dgm:hierBranch val="init"/>
        </dgm:presLayoutVars>
      </dgm:prSet>
      <dgm:spPr/>
    </dgm:pt>
    <dgm:pt modelId="{295788B8-07A9-44DC-B8CE-EA0E78CCC852}" type="pres">
      <dgm:prSet presAssocID="{0929002E-3CFB-46F1-9DED-701E6BDDBBE5}" presName="rootComposite" presStyleCnt="0"/>
      <dgm:spPr/>
    </dgm:pt>
    <dgm:pt modelId="{8434FBF3-53CC-495E-BB1B-22FBDDBE30ED}" type="pres">
      <dgm:prSet presAssocID="{0929002E-3CFB-46F1-9DED-701E6BDDBBE5}" presName="rootText" presStyleLbl="node3" presStyleIdx="2" presStyleCnt="28">
        <dgm:presLayoutVars>
          <dgm:chPref val="3"/>
        </dgm:presLayoutVars>
      </dgm:prSet>
      <dgm:spPr/>
    </dgm:pt>
    <dgm:pt modelId="{7FA4785A-9BE3-4235-84C0-F5825401861A}" type="pres">
      <dgm:prSet presAssocID="{0929002E-3CFB-46F1-9DED-701E6BDDBBE5}" presName="rootConnector" presStyleLbl="node3" presStyleIdx="2" presStyleCnt="28"/>
      <dgm:spPr/>
    </dgm:pt>
    <dgm:pt modelId="{D131C9A0-6CF7-4DF2-85BB-77DC1B2EEE84}" type="pres">
      <dgm:prSet presAssocID="{0929002E-3CFB-46F1-9DED-701E6BDDBBE5}" presName="hierChild4" presStyleCnt="0"/>
      <dgm:spPr/>
    </dgm:pt>
    <dgm:pt modelId="{8EFCFC62-2995-4B7F-9A02-71DE883D5DA7}" type="pres">
      <dgm:prSet presAssocID="{0929002E-3CFB-46F1-9DED-701E6BDDBBE5}" presName="hierChild5" presStyleCnt="0"/>
      <dgm:spPr/>
    </dgm:pt>
    <dgm:pt modelId="{B350BE60-2BDA-4374-84D9-4687DCDD2EBC}" type="pres">
      <dgm:prSet presAssocID="{E3ECB5E8-A935-4CFC-8698-EA5FF877B4E3}" presName="Name37" presStyleLbl="parChTrans1D3" presStyleIdx="3" presStyleCnt="28"/>
      <dgm:spPr/>
    </dgm:pt>
    <dgm:pt modelId="{05C1D8AC-998C-4AD6-8AEA-FAD369EE4A4E}" type="pres">
      <dgm:prSet presAssocID="{A0D1D621-DA49-4B24-9D22-997E3493B32D}" presName="hierRoot2" presStyleCnt="0">
        <dgm:presLayoutVars>
          <dgm:hierBranch val="init"/>
        </dgm:presLayoutVars>
      </dgm:prSet>
      <dgm:spPr/>
    </dgm:pt>
    <dgm:pt modelId="{B2A46B4E-4D9A-475C-BDE7-3DEFAEB73271}" type="pres">
      <dgm:prSet presAssocID="{A0D1D621-DA49-4B24-9D22-997E3493B32D}" presName="rootComposite" presStyleCnt="0"/>
      <dgm:spPr/>
    </dgm:pt>
    <dgm:pt modelId="{E557D31B-FE7E-4CD7-9A79-5ADE246440F5}" type="pres">
      <dgm:prSet presAssocID="{A0D1D621-DA49-4B24-9D22-997E3493B32D}" presName="rootText" presStyleLbl="node3" presStyleIdx="3" presStyleCnt="28">
        <dgm:presLayoutVars>
          <dgm:chPref val="3"/>
        </dgm:presLayoutVars>
      </dgm:prSet>
      <dgm:spPr/>
    </dgm:pt>
    <dgm:pt modelId="{5E43865A-26D4-4823-9FD0-71E29AC536E8}" type="pres">
      <dgm:prSet presAssocID="{A0D1D621-DA49-4B24-9D22-997E3493B32D}" presName="rootConnector" presStyleLbl="node3" presStyleIdx="3" presStyleCnt="28"/>
      <dgm:spPr/>
    </dgm:pt>
    <dgm:pt modelId="{88AFC158-AE7C-4619-B2DB-34E4ABBC46EC}" type="pres">
      <dgm:prSet presAssocID="{A0D1D621-DA49-4B24-9D22-997E3493B32D}" presName="hierChild4" presStyleCnt="0"/>
      <dgm:spPr/>
    </dgm:pt>
    <dgm:pt modelId="{CE6C8E8E-F3A0-4B14-A702-253296FCAB49}" type="pres">
      <dgm:prSet presAssocID="{A0D1D621-DA49-4B24-9D22-997E3493B32D}" presName="hierChild5" presStyleCnt="0"/>
      <dgm:spPr/>
    </dgm:pt>
    <dgm:pt modelId="{281E2125-ECD3-4E00-9CDA-024BDF2D0F09}" type="pres">
      <dgm:prSet presAssocID="{771A4284-DC55-4997-B76F-6C9FAAC618D2}" presName="Name37" presStyleLbl="parChTrans1D3" presStyleIdx="4" presStyleCnt="28"/>
      <dgm:spPr/>
    </dgm:pt>
    <dgm:pt modelId="{7ADBB82A-4A9D-4C47-A8EB-AC5FF9269B2F}" type="pres">
      <dgm:prSet presAssocID="{33918B2B-A56B-49E5-A99E-FB8B8DD62018}" presName="hierRoot2" presStyleCnt="0">
        <dgm:presLayoutVars>
          <dgm:hierBranch val="init"/>
        </dgm:presLayoutVars>
      </dgm:prSet>
      <dgm:spPr/>
    </dgm:pt>
    <dgm:pt modelId="{9A784A38-ADC4-4B0A-AE7C-F70CFB53827E}" type="pres">
      <dgm:prSet presAssocID="{33918B2B-A56B-49E5-A99E-FB8B8DD62018}" presName="rootComposite" presStyleCnt="0"/>
      <dgm:spPr/>
    </dgm:pt>
    <dgm:pt modelId="{7F5BD868-3FB2-4432-B8E8-85AA2095AFDF}" type="pres">
      <dgm:prSet presAssocID="{33918B2B-A56B-49E5-A99E-FB8B8DD62018}" presName="rootText" presStyleLbl="node3" presStyleIdx="4" presStyleCnt="28">
        <dgm:presLayoutVars>
          <dgm:chPref val="3"/>
        </dgm:presLayoutVars>
      </dgm:prSet>
      <dgm:spPr/>
    </dgm:pt>
    <dgm:pt modelId="{905B16D4-3FFF-410E-A309-FFF363771166}" type="pres">
      <dgm:prSet presAssocID="{33918B2B-A56B-49E5-A99E-FB8B8DD62018}" presName="rootConnector" presStyleLbl="node3" presStyleIdx="4" presStyleCnt="28"/>
      <dgm:spPr/>
    </dgm:pt>
    <dgm:pt modelId="{16B62FB1-C59C-401F-AA94-03AB2BC1DB5C}" type="pres">
      <dgm:prSet presAssocID="{33918B2B-A56B-49E5-A99E-FB8B8DD62018}" presName="hierChild4" presStyleCnt="0"/>
      <dgm:spPr/>
    </dgm:pt>
    <dgm:pt modelId="{66BEE88E-70E2-471A-AB11-EC382D98C256}" type="pres">
      <dgm:prSet presAssocID="{33918B2B-A56B-49E5-A99E-FB8B8DD62018}" presName="hierChild5" presStyleCnt="0"/>
      <dgm:spPr/>
    </dgm:pt>
    <dgm:pt modelId="{4E72B058-E82D-4F24-AFBA-DC172A2838F1}" type="pres">
      <dgm:prSet presAssocID="{E4B4F9F4-D240-4EF9-8A3E-0060574F32FE}" presName="hierChild5" presStyleCnt="0"/>
      <dgm:spPr/>
    </dgm:pt>
    <dgm:pt modelId="{D99DC523-A0FB-4625-8353-E7BE586ED17F}" type="pres">
      <dgm:prSet presAssocID="{CC5A209D-1098-4CF6-9C19-CDBB138D5A53}" presName="Name37" presStyleLbl="parChTrans1D2" presStyleIdx="1" presStyleCnt="6"/>
      <dgm:spPr/>
    </dgm:pt>
    <dgm:pt modelId="{FBEDF354-4AB7-4D88-9F9F-38E999D759BC}" type="pres">
      <dgm:prSet presAssocID="{AE4AEB44-270D-4A4A-986A-D0C7568AB1FF}" presName="hierRoot2" presStyleCnt="0">
        <dgm:presLayoutVars>
          <dgm:hierBranch val="init"/>
        </dgm:presLayoutVars>
      </dgm:prSet>
      <dgm:spPr/>
    </dgm:pt>
    <dgm:pt modelId="{97D6BF4C-48AF-43AC-8265-7D3FC4D59F6A}" type="pres">
      <dgm:prSet presAssocID="{AE4AEB44-270D-4A4A-986A-D0C7568AB1FF}" presName="rootComposite" presStyleCnt="0"/>
      <dgm:spPr/>
    </dgm:pt>
    <dgm:pt modelId="{0E214E11-E023-42F0-949E-D4B5EE6BF00B}" type="pres">
      <dgm:prSet presAssocID="{AE4AEB44-270D-4A4A-986A-D0C7568AB1FF}" presName="rootText" presStyleLbl="node2" presStyleIdx="1" presStyleCnt="6">
        <dgm:presLayoutVars>
          <dgm:chPref val="3"/>
        </dgm:presLayoutVars>
      </dgm:prSet>
      <dgm:spPr/>
    </dgm:pt>
    <dgm:pt modelId="{174DBD7B-676F-40CB-A854-FFEAC812914A}" type="pres">
      <dgm:prSet presAssocID="{AE4AEB44-270D-4A4A-986A-D0C7568AB1FF}" presName="rootConnector" presStyleLbl="node2" presStyleIdx="1" presStyleCnt="6"/>
      <dgm:spPr/>
    </dgm:pt>
    <dgm:pt modelId="{EC34D6C9-E2EE-4164-9A64-D01FDBECE3F8}" type="pres">
      <dgm:prSet presAssocID="{AE4AEB44-270D-4A4A-986A-D0C7568AB1FF}" presName="hierChild4" presStyleCnt="0"/>
      <dgm:spPr/>
    </dgm:pt>
    <dgm:pt modelId="{8603216B-8D19-4F7D-B157-A8C9FEF99D65}" type="pres">
      <dgm:prSet presAssocID="{ED56C5B0-A8EF-4171-B1D5-E243FAD33B08}" presName="Name37" presStyleLbl="parChTrans1D3" presStyleIdx="5" presStyleCnt="28"/>
      <dgm:spPr/>
    </dgm:pt>
    <dgm:pt modelId="{2C4F6A6F-D776-49AE-BF12-3A525B4F42B9}" type="pres">
      <dgm:prSet presAssocID="{436966C0-1DA5-462C-A792-C39AB9A2902C}" presName="hierRoot2" presStyleCnt="0">
        <dgm:presLayoutVars>
          <dgm:hierBranch val="init"/>
        </dgm:presLayoutVars>
      </dgm:prSet>
      <dgm:spPr/>
    </dgm:pt>
    <dgm:pt modelId="{2043F8E6-629A-4731-88C6-29FB77F5D402}" type="pres">
      <dgm:prSet presAssocID="{436966C0-1DA5-462C-A792-C39AB9A2902C}" presName="rootComposite" presStyleCnt="0"/>
      <dgm:spPr/>
    </dgm:pt>
    <dgm:pt modelId="{04855EF9-FF16-4EFE-927E-96BB0C8C3828}" type="pres">
      <dgm:prSet presAssocID="{436966C0-1DA5-462C-A792-C39AB9A2902C}" presName="rootText" presStyleLbl="node3" presStyleIdx="5" presStyleCnt="28">
        <dgm:presLayoutVars>
          <dgm:chPref val="3"/>
        </dgm:presLayoutVars>
      </dgm:prSet>
      <dgm:spPr/>
    </dgm:pt>
    <dgm:pt modelId="{5DFBA267-DF77-4DE3-A8C4-1B09CE8BF4DF}" type="pres">
      <dgm:prSet presAssocID="{436966C0-1DA5-462C-A792-C39AB9A2902C}" presName="rootConnector" presStyleLbl="node3" presStyleIdx="5" presStyleCnt="28"/>
      <dgm:spPr/>
    </dgm:pt>
    <dgm:pt modelId="{893B0839-4048-405B-8D0F-C05E7B895C08}" type="pres">
      <dgm:prSet presAssocID="{436966C0-1DA5-462C-A792-C39AB9A2902C}" presName="hierChild4" presStyleCnt="0"/>
      <dgm:spPr/>
    </dgm:pt>
    <dgm:pt modelId="{87C11AD4-75AD-4029-9FBD-53CA3B53EB55}" type="pres">
      <dgm:prSet presAssocID="{436966C0-1DA5-462C-A792-C39AB9A2902C}" presName="hierChild5" presStyleCnt="0"/>
      <dgm:spPr/>
    </dgm:pt>
    <dgm:pt modelId="{F30B360D-8E56-41A6-A4EC-97B9C46F3B7F}" type="pres">
      <dgm:prSet presAssocID="{C66EEBF6-FECB-48CC-A1A7-E43C1E54BA0B}" presName="Name37" presStyleLbl="parChTrans1D3" presStyleIdx="6" presStyleCnt="28"/>
      <dgm:spPr/>
    </dgm:pt>
    <dgm:pt modelId="{3DADA795-7D81-4468-8AFF-C1A74B85642A}" type="pres">
      <dgm:prSet presAssocID="{BE687275-8397-4EF9-B6E2-1BF3E4C48420}" presName="hierRoot2" presStyleCnt="0">
        <dgm:presLayoutVars>
          <dgm:hierBranch val="init"/>
        </dgm:presLayoutVars>
      </dgm:prSet>
      <dgm:spPr/>
    </dgm:pt>
    <dgm:pt modelId="{DD99D67D-7AB0-433D-A2D7-FF1D220166A3}" type="pres">
      <dgm:prSet presAssocID="{BE687275-8397-4EF9-B6E2-1BF3E4C48420}" presName="rootComposite" presStyleCnt="0"/>
      <dgm:spPr/>
    </dgm:pt>
    <dgm:pt modelId="{B1BC0300-8519-43F8-9033-1E4D4898C3BD}" type="pres">
      <dgm:prSet presAssocID="{BE687275-8397-4EF9-B6E2-1BF3E4C48420}" presName="rootText" presStyleLbl="node3" presStyleIdx="6" presStyleCnt="28">
        <dgm:presLayoutVars>
          <dgm:chPref val="3"/>
        </dgm:presLayoutVars>
      </dgm:prSet>
      <dgm:spPr/>
    </dgm:pt>
    <dgm:pt modelId="{307426CF-548E-4531-B4C7-AFEFC316EF27}" type="pres">
      <dgm:prSet presAssocID="{BE687275-8397-4EF9-B6E2-1BF3E4C48420}" presName="rootConnector" presStyleLbl="node3" presStyleIdx="6" presStyleCnt="28"/>
      <dgm:spPr/>
    </dgm:pt>
    <dgm:pt modelId="{2B8DF16D-071D-4D24-8E6E-ADA21EA4B567}" type="pres">
      <dgm:prSet presAssocID="{BE687275-8397-4EF9-B6E2-1BF3E4C48420}" presName="hierChild4" presStyleCnt="0"/>
      <dgm:spPr/>
    </dgm:pt>
    <dgm:pt modelId="{FB5BDA3C-0128-4908-9AB8-FEB706BF5872}" type="pres">
      <dgm:prSet presAssocID="{BE687275-8397-4EF9-B6E2-1BF3E4C48420}" presName="hierChild5" presStyleCnt="0"/>
      <dgm:spPr/>
    </dgm:pt>
    <dgm:pt modelId="{79E8509D-D200-4AD2-9176-BA1C925FA3FE}" type="pres">
      <dgm:prSet presAssocID="{DF961A74-B5F5-4B93-9FA9-DE5DA87D9BD2}" presName="Name37" presStyleLbl="parChTrans1D3" presStyleIdx="7" presStyleCnt="28"/>
      <dgm:spPr/>
    </dgm:pt>
    <dgm:pt modelId="{1651CB8F-F8F3-4697-A767-3A8CCA72DE1F}" type="pres">
      <dgm:prSet presAssocID="{CD9B72B4-5551-4360-B639-5D4178A91D70}" presName="hierRoot2" presStyleCnt="0">
        <dgm:presLayoutVars>
          <dgm:hierBranch val="init"/>
        </dgm:presLayoutVars>
      </dgm:prSet>
      <dgm:spPr/>
    </dgm:pt>
    <dgm:pt modelId="{EDB371B7-8CE5-4EB1-AD3F-E0F4173FC1DF}" type="pres">
      <dgm:prSet presAssocID="{CD9B72B4-5551-4360-B639-5D4178A91D70}" presName="rootComposite" presStyleCnt="0"/>
      <dgm:spPr/>
    </dgm:pt>
    <dgm:pt modelId="{8EFCE613-0888-43C3-A88B-CA08106F9803}" type="pres">
      <dgm:prSet presAssocID="{CD9B72B4-5551-4360-B639-5D4178A91D70}" presName="rootText" presStyleLbl="node3" presStyleIdx="7" presStyleCnt="28">
        <dgm:presLayoutVars>
          <dgm:chPref val="3"/>
        </dgm:presLayoutVars>
      </dgm:prSet>
      <dgm:spPr/>
    </dgm:pt>
    <dgm:pt modelId="{1F684BA0-1660-4D79-9FD9-76528EB8C18D}" type="pres">
      <dgm:prSet presAssocID="{CD9B72B4-5551-4360-B639-5D4178A91D70}" presName="rootConnector" presStyleLbl="node3" presStyleIdx="7" presStyleCnt="28"/>
      <dgm:spPr/>
    </dgm:pt>
    <dgm:pt modelId="{289A3F5D-28EA-4566-A470-4B01F223C54F}" type="pres">
      <dgm:prSet presAssocID="{CD9B72B4-5551-4360-B639-5D4178A91D70}" presName="hierChild4" presStyleCnt="0"/>
      <dgm:spPr/>
    </dgm:pt>
    <dgm:pt modelId="{1B8F0675-C087-4017-AD83-CA4E2F2240FC}" type="pres">
      <dgm:prSet presAssocID="{CD9B72B4-5551-4360-B639-5D4178A91D70}" presName="hierChild5" presStyleCnt="0"/>
      <dgm:spPr/>
    </dgm:pt>
    <dgm:pt modelId="{4F9CEBCB-3E07-4D52-B4A4-6B8EBED17822}" type="pres">
      <dgm:prSet presAssocID="{1C5B7485-BE1A-44CA-8B64-16EDA3A4FA5C}" presName="Name37" presStyleLbl="parChTrans1D3" presStyleIdx="8" presStyleCnt="28"/>
      <dgm:spPr/>
    </dgm:pt>
    <dgm:pt modelId="{2A4E7294-7F95-4A1D-82D5-DA3C56EC944D}" type="pres">
      <dgm:prSet presAssocID="{98685474-342B-4776-925B-4D5684551333}" presName="hierRoot2" presStyleCnt="0">
        <dgm:presLayoutVars>
          <dgm:hierBranch val="init"/>
        </dgm:presLayoutVars>
      </dgm:prSet>
      <dgm:spPr/>
    </dgm:pt>
    <dgm:pt modelId="{DC2D1273-8E0E-47E3-8C1A-51D464495D74}" type="pres">
      <dgm:prSet presAssocID="{98685474-342B-4776-925B-4D5684551333}" presName="rootComposite" presStyleCnt="0"/>
      <dgm:spPr/>
    </dgm:pt>
    <dgm:pt modelId="{997E4C9A-B4F3-4755-8B1F-D7881B3DF5B8}" type="pres">
      <dgm:prSet presAssocID="{98685474-342B-4776-925B-4D5684551333}" presName="rootText" presStyleLbl="node3" presStyleIdx="8" presStyleCnt="28">
        <dgm:presLayoutVars>
          <dgm:chPref val="3"/>
        </dgm:presLayoutVars>
      </dgm:prSet>
      <dgm:spPr/>
    </dgm:pt>
    <dgm:pt modelId="{C9DED0BE-5CF6-4D57-9E41-34DA0ACE07A9}" type="pres">
      <dgm:prSet presAssocID="{98685474-342B-4776-925B-4D5684551333}" presName="rootConnector" presStyleLbl="node3" presStyleIdx="8" presStyleCnt="28"/>
      <dgm:spPr/>
    </dgm:pt>
    <dgm:pt modelId="{271AFECE-4DA6-47D9-ACCC-44A5BFC0533D}" type="pres">
      <dgm:prSet presAssocID="{98685474-342B-4776-925B-4D5684551333}" presName="hierChild4" presStyleCnt="0"/>
      <dgm:spPr/>
    </dgm:pt>
    <dgm:pt modelId="{8DECCB34-46D5-4133-BD81-C515C2455D15}" type="pres">
      <dgm:prSet presAssocID="{98685474-342B-4776-925B-4D5684551333}" presName="hierChild5" presStyleCnt="0"/>
      <dgm:spPr/>
    </dgm:pt>
    <dgm:pt modelId="{ADA6D691-513F-4B68-BA69-C2FE3DF7CFCA}" type="pres">
      <dgm:prSet presAssocID="{8BDB2EBE-F5DA-47E0-90BC-78366CE7ABA7}" presName="Name37" presStyleLbl="parChTrans1D3" presStyleIdx="9" presStyleCnt="28"/>
      <dgm:spPr/>
    </dgm:pt>
    <dgm:pt modelId="{8E76D0FD-C807-40DB-92FC-3468075B5F05}" type="pres">
      <dgm:prSet presAssocID="{BCB523D8-A888-42BA-A806-A92D8845FA2D}" presName="hierRoot2" presStyleCnt="0">
        <dgm:presLayoutVars>
          <dgm:hierBranch val="init"/>
        </dgm:presLayoutVars>
      </dgm:prSet>
      <dgm:spPr/>
    </dgm:pt>
    <dgm:pt modelId="{EE2AFC3A-34B4-4EF9-ACA5-6113C25576CF}" type="pres">
      <dgm:prSet presAssocID="{BCB523D8-A888-42BA-A806-A92D8845FA2D}" presName="rootComposite" presStyleCnt="0"/>
      <dgm:spPr/>
    </dgm:pt>
    <dgm:pt modelId="{FF131D10-19AD-4154-B757-6C588F327FEB}" type="pres">
      <dgm:prSet presAssocID="{BCB523D8-A888-42BA-A806-A92D8845FA2D}" presName="rootText" presStyleLbl="node3" presStyleIdx="9" presStyleCnt="28">
        <dgm:presLayoutVars>
          <dgm:chPref val="3"/>
        </dgm:presLayoutVars>
      </dgm:prSet>
      <dgm:spPr/>
    </dgm:pt>
    <dgm:pt modelId="{0C654247-2371-4550-BB8D-4EA0B20C794C}" type="pres">
      <dgm:prSet presAssocID="{BCB523D8-A888-42BA-A806-A92D8845FA2D}" presName="rootConnector" presStyleLbl="node3" presStyleIdx="9" presStyleCnt="28"/>
      <dgm:spPr/>
    </dgm:pt>
    <dgm:pt modelId="{D706EBC9-0968-4282-A6E1-C406589368D5}" type="pres">
      <dgm:prSet presAssocID="{BCB523D8-A888-42BA-A806-A92D8845FA2D}" presName="hierChild4" presStyleCnt="0"/>
      <dgm:spPr/>
    </dgm:pt>
    <dgm:pt modelId="{A3F30D9E-5A17-491E-BE0B-1A5E21BCF493}" type="pres">
      <dgm:prSet presAssocID="{BCB523D8-A888-42BA-A806-A92D8845FA2D}" presName="hierChild5" presStyleCnt="0"/>
      <dgm:spPr/>
    </dgm:pt>
    <dgm:pt modelId="{52C25AC4-0A92-4D0B-89A4-B56DDF75DAC1}" type="pres">
      <dgm:prSet presAssocID="{AE4AEB44-270D-4A4A-986A-D0C7568AB1FF}" presName="hierChild5" presStyleCnt="0"/>
      <dgm:spPr/>
    </dgm:pt>
    <dgm:pt modelId="{2C5D9233-E922-480E-A546-C8C0865DBB32}" type="pres">
      <dgm:prSet presAssocID="{C4DFA08D-1F8D-41AE-8ACE-B408E812044D}" presName="Name37" presStyleLbl="parChTrans1D2" presStyleIdx="2" presStyleCnt="6"/>
      <dgm:spPr/>
    </dgm:pt>
    <dgm:pt modelId="{6CE57BD3-4BD5-484E-A55F-A7023B984435}" type="pres">
      <dgm:prSet presAssocID="{D220A13B-8F1E-468F-82C7-70F47B586B66}" presName="hierRoot2" presStyleCnt="0">
        <dgm:presLayoutVars>
          <dgm:hierBranch val="init"/>
        </dgm:presLayoutVars>
      </dgm:prSet>
      <dgm:spPr/>
    </dgm:pt>
    <dgm:pt modelId="{104BE414-ECCF-4242-8587-BE6B356FA9BE}" type="pres">
      <dgm:prSet presAssocID="{D220A13B-8F1E-468F-82C7-70F47B586B66}" presName="rootComposite" presStyleCnt="0"/>
      <dgm:spPr/>
    </dgm:pt>
    <dgm:pt modelId="{C211D1E2-A010-4A2B-86E8-0F02FDA687CB}" type="pres">
      <dgm:prSet presAssocID="{D220A13B-8F1E-468F-82C7-70F47B586B66}" presName="rootText" presStyleLbl="node2" presStyleIdx="2" presStyleCnt="6">
        <dgm:presLayoutVars>
          <dgm:chPref val="3"/>
        </dgm:presLayoutVars>
      </dgm:prSet>
      <dgm:spPr/>
    </dgm:pt>
    <dgm:pt modelId="{42FEA8FD-5BEE-4922-B4D4-26BADF860916}" type="pres">
      <dgm:prSet presAssocID="{D220A13B-8F1E-468F-82C7-70F47B586B66}" presName="rootConnector" presStyleLbl="node2" presStyleIdx="2" presStyleCnt="6"/>
      <dgm:spPr/>
    </dgm:pt>
    <dgm:pt modelId="{09694D4B-A9FB-4824-ADDB-ED96EB7988DA}" type="pres">
      <dgm:prSet presAssocID="{D220A13B-8F1E-468F-82C7-70F47B586B66}" presName="hierChild4" presStyleCnt="0"/>
      <dgm:spPr/>
    </dgm:pt>
    <dgm:pt modelId="{7BCD82EB-3CCE-41F0-A332-389CAD5C7562}" type="pres">
      <dgm:prSet presAssocID="{7440AF21-5B40-4166-942C-627521F685B7}" presName="Name37" presStyleLbl="parChTrans1D3" presStyleIdx="10" presStyleCnt="28"/>
      <dgm:spPr/>
    </dgm:pt>
    <dgm:pt modelId="{F6A69F41-4435-4EB0-8EA3-CA9B58D722B2}" type="pres">
      <dgm:prSet presAssocID="{ACD806BF-F1A9-459B-80ED-3E6C6DF22932}" presName="hierRoot2" presStyleCnt="0">
        <dgm:presLayoutVars>
          <dgm:hierBranch val="init"/>
        </dgm:presLayoutVars>
      </dgm:prSet>
      <dgm:spPr/>
    </dgm:pt>
    <dgm:pt modelId="{049B5B5C-90BE-4B75-A72C-451C2A55816D}" type="pres">
      <dgm:prSet presAssocID="{ACD806BF-F1A9-459B-80ED-3E6C6DF22932}" presName="rootComposite" presStyleCnt="0"/>
      <dgm:spPr/>
    </dgm:pt>
    <dgm:pt modelId="{CF77B62D-BE7F-4AD1-9F37-2149EAB399EE}" type="pres">
      <dgm:prSet presAssocID="{ACD806BF-F1A9-459B-80ED-3E6C6DF22932}" presName="rootText" presStyleLbl="node3" presStyleIdx="10" presStyleCnt="28">
        <dgm:presLayoutVars>
          <dgm:chPref val="3"/>
        </dgm:presLayoutVars>
      </dgm:prSet>
      <dgm:spPr/>
    </dgm:pt>
    <dgm:pt modelId="{13D350C9-59FE-44B0-8D5B-03426D8FDE20}" type="pres">
      <dgm:prSet presAssocID="{ACD806BF-F1A9-459B-80ED-3E6C6DF22932}" presName="rootConnector" presStyleLbl="node3" presStyleIdx="10" presStyleCnt="28"/>
      <dgm:spPr/>
    </dgm:pt>
    <dgm:pt modelId="{B349B343-BE1D-443B-865C-686666AD665F}" type="pres">
      <dgm:prSet presAssocID="{ACD806BF-F1A9-459B-80ED-3E6C6DF22932}" presName="hierChild4" presStyleCnt="0"/>
      <dgm:spPr/>
    </dgm:pt>
    <dgm:pt modelId="{7EB7294C-A8B9-4298-9A70-19B79E769D3E}" type="pres">
      <dgm:prSet presAssocID="{ACD806BF-F1A9-459B-80ED-3E6C6DF22932}" presName="hierChild5" presStyleCnt="0"/>
      <dgm:spPr/>
    </dgm:pt>
    <dgm:pt modelId="{FBA8A821-8087-42F7-9157-793FE3A8F3D0}" type="pres">
      <dgm:prSet presAssocID="{3F8228D7-AF64-4215-8956-E18BB0A1ED8D}" presName="Name37" presStyleLbl="parChTrans1D3" presStyleIdx="11" presStyleCnt="28"/>
      <dgm:spPr/>
    </dgm:pt>
    <dgm:pt modelId="{ECE04648-16E8-44FD-A2C2-9AA72A74B1AC}" type="pres">
      <dgm:prSet presAssocID="{7083A081-C47B-4C38-B0D7-7757D8FF67B8}" presName="hierRoot2" presStyleCnt="0">
        <dgm:presLayoutVars>
          <dgm:hierBranch val="init"/>
        </dgm:presLayoutVars>
      </dgm:prSet>
      <dgm:spPr/>
    </dgm:pt>
    <dgm:pt modelId="{693AE1EF-BA87-4F29-8B98-14F1DDA00D2C}" type="pres">
      <dgm:prSet presAssocID="{7083A081-C47B-4C38-B0D7-7757D8FF67B8}" presName="rootComposite" presStyleCnt="0"/>
      <dgm:spPr/>
    </dgm:pt>
    <dgm:pt modelId="{234F20C3-CD42-405E-A603-8BE6F9855121}" type="pres">
      <dgm:prSet presAssocID="{7083A081-C47B-4C38-B0D7-7757D8FF67B8}" presName="rootText" presStyleLbl="node3" presStyleIdx="11" presStyleCnt="28">
        <dgm:presLayoutVars>
          <dgm:chPref val="3"/>
        </dgm:presLayoutVars>
      </dgm:prSet>
      <dgm:spPr/>
    </dgm:pt>
    <dgm:pt modelId="{AE225D63-49C8-429E-A6B6-9BA31D3C5B29}" type="pres">
      <dgm:prSet presAssocID="{7083A081-C47B-4C38-B0D7-7757D8FF67B8}" presName="rootConnector" presStyleLbl="node3" presStyleIdx="11" presStyleCnt="28"/>
      <dgm:spPr/>
    </dgm:pt>
    <dgm:pt modelId="{816EAC12-5E24-4578-AF3D-538040CDAC3B}" type="pres">
      <dgm:prSet presAssocID="{7083A081-C47B-4C38-B0D7-7757D8FF67B8}" presName="hierChild4" presStyleCnt="0"/>
      <dgm:spPr/>
    </dgm:pt>
    <dgm:pt modelId="{A37DF121-B410-4C50-A2AA-7103B9E5F9FE}" type="pres">
      <dgm:prSet presAssocID="{7083A081-C47B-4C38-B0D7-7757D8FF67B8}" presName="hierChild5" presStyleCnt="0"/>
      <dgm:spPr/>
    </dgm:pt>
    <dgm:pt modelId="{44C0CF06-581E-418D-956C-690C200DE7F5}" type="pres">
      <dgm:prSet presAssocID="{D1690AB5-434E-40B7-B982-9499266749A4}" presName="Name37" presStyleLbl="parChTrans1D3" presStyleIdx="12" presStyleCnt="28"/>
      <dgm:spPr/>
    </dgm:pt>
    <dgm:pt modelId="{3E52F205-213A-4CBC-85F4-365EF0666B7C}" type="pres">
      <dgm:prSet presAssocID="{B70C7CDC-63CB-445B-AEC4-C1501F7BA860}" presName="hierRoot2" presStyleCnt="0">
        <dgm:presLayoutVars>
          <dgm:hierBranch val="init"/>
        </dgm:presLayoutVars>
      </dgm:prSet>
      <dgm:spPr/>
    </dgm:pt>
    <dgm:pt modelId="{82478F43-9FEC-43CF-A333-A1AA9A1D4BD3}" type="pres">
      <dgm:prSet presAssocID="{B70C7CDC-63CB-445B-AEC4-C1501F7BA860}" presName="rootComposite" presStyleCnt="0"/>
      <dgm:spPr/>
    </dgm:pt>
    <dgm:pt modelId="{0ED1EE40-EC7B-41B3-BEC5-1AACA348A4BE}" type="pres">
      <dgm:prSet presAssocID="{B70C7CDC-63CB-445B-AEC4-C1501F7BA860}" presName="rootText" presStyleLbl="node3" presStyleIdx="12" presStyleCnt="28">
        <dgm:presLayoutVars>
          <dgm:chPref val="3"/>
        </dgm:presLayoutVars>
      </dgm:prSet>
      <dgm:spPr/>
    </dgm:pt>
    <dgm:pt modelId="{6B42DEF9-FC5F-4118-9FC3-A3EA6BAB91D5}" type="pres">
      <dgm:prSet presAssocID="{B70C7CDC-63CB-445B-AEC4-C1501F7BA860}" presName="rootConnector" presStyleLbl="node3" presStyleIdx="12" presStyleCnt="28"/>
      <dgm:spPr/>
    </dgm:pt>
    <dgm:pt modelId="{4F8933C2-BC0E-4B03-A23B-9B6672B840F9}" type="pres">
      <dgm:prSet presAssocID="{B70C7CDC-63CB-445B-AEC4-C1501F7BA860}" presName="hierChild4" presStyleCnt="0"/>
      <dgm:spPr/>
    </dgm:pt>
    <dgm:pt modelId="{1F5F8AC2-58EC-4342-BA55-A031770543EF}" type="pres">
      <dgm:prSet presAssocID="{B70C7CDC-63CB-445B-AEC4-C1501F7BA860}" presName="hierChild5" presStyleCnt="0"/>
      <dgm:spPr/>
    </dgm:pt>
    <dgm:pt modelId="{78976918-A4A3-4035-8D81-D56813684814}" type="pres">
      <dgm:prSet presAssocID="{43BDB3D2-DFB7-40C0-8C47-9797BCBFAED1}" presName="Name37" presStyleLbl="parChTrans1D3" presStyleIdx="13" presStyleCnt="28"/>
      <dgm:spPr/>
    </dgm:pt>
    <dgm:pt modelId="{DBC8C23F-F94D-42F5-8B26-2D83A176902C}" type="pres">
      <dgm:prSet presAssocID="{14E30B54-BAA4-4BCC-8F7D-17189670DBE7}" presName="hierRoot2" presStyleCnt="0">
        <dgm:presLayoutVars>
          <dgm:hierBranch val="init"/>
        </dgm:presLayoutVars>
      </dgm:prSet>
      <dgm:spPr/>
    </dgm:pt>
    <dgm:pt modelId="{9B331011-CCE6-4003-8DF7-FA25FF08D138}" type="pres">
      <dgm:prSet presAssocID="{14E30B54-BAA4-4BCC-8F7D-17189670DBE7}" presName="rootComposite" presStyleCnt="0"/>
      <dgm:spPr/>
    </dgm:pt>
    <dgm:pt modelId="{E5FCAF91-3776-4CDC-ABCA-202708193120}" type="pres">
      <dgm:prSet presAssocID="{14E30B54-BAA4-4BCC-8F7D-17189670DBE7}" presName="rootText" presStyleLbl="node3" presStyleIdx="13" presStyleCnt="28">
        <dgm:presLayoutVars>
          <dgm:chPref val="3"/>
        </dgm:presLayoutVars>
      </dgm:prSet>
      <dgm:spPr/>
    </dgm:pt>
    <dgm:pt modelId="{AFD69B81-D44C-4733-BA0B-85C166472E4E}" type="pres">
      <dgm:prSet presAssocID="{14E30B54-BAA4-4BCC-8F7D-17189670DBE7}" presName="rootConnector" presStyleLbl="node3" presStyleIdx="13" presStyleCnt="28"/>
      <dgm:spPr/>
    </dgm:pt>
    <dgm:pt modelId="{B9AE433C-E52E-4433-88FC-BF011B861C1C}" type="pres">
      <dgm:prSet presAssocID="{14E30B54-BAA4-4BCC-8F7D-17189670DBE7}" presName="hierChild4" presStyleCnt="0"/>
      <dgm:spPr/>
    </dgm:pt>
    <dgm:pt modelId="{6E97BFF3-D4DE-40FC-A513-B1123F640BBA}" type="pres">
      <dgm:prSet presAssocID="{14E30B54-BAA4-4BCC-8F7D-17189670DBE7}" presName="hierChild5" presStyleCnt="0"/>
      <dgm:spPr/>
    </dgm:pt>
    <dgm:pt modelId="{CE729008-099D-4A08-A102-E60D944FC48F}" type="pres">
      <dgm:prSet presAssocID="{958ADE94-E987-4249-84BC-8DBBAE879A52}" presName="Name37" presStyleLbl="parChTrans1D3" presStyleIdx="14" presStyleCnt="28"/>
      <dgm:spPr/>
    </dgm:pt>
    <dgm:pt modelId="{DB31EB0C-7A84-4AB1-A9D8-971024FED4BC}" type="pres">
      <dgm:prSet presAssocID="{F33A5EE2-A2CF-484E-8A7B-911A150884B2}" presName="hierRoot2" presStyleCnt="0">
        <dgm:presLayoutVars>
          <dgm:hierBranch val="init"/>
        </dgm:presLayoutVars>
      </dgm:prSet>
      <dgm:spPr/>
    </dgm:pt>
    <dgm:pt modelId="{91584322-F64F-4D12-80A0-778439A26BC4}" type="pres">
      <dgm:prSet presAssocID="{F33A5EE2-A2CF-484E-8A7B-911A150884B2}" presName="rootComposite" presStyleCnt="0"/>
      <dgm:spPr/>
    </dgm:pt>
    <dgm:pt modelId="{C091B7E7-2F31-4DB8-990E-E618A35CC32F}" type="pres">
      <dgm:prSet presAssocID="{F33A5EE2-A2CF-484E-8A7B-911A150884B2}" presName="rootText" presStyleLbl="node3" presStyleIdx="14" presStyleCnt="28">
        <dgm:presLayoutVars>
          <dgm:chPref val="3"/>
        </dgm:presLayoutVars>
      </dgm:prSet>
      <dgm:spPr/>
    </dgm:pt>
    <dgm:pt modelId="{F52A4416-A355-4496-A0B1-4CBF01986EC7}" type="pres">
      <dgm:prSet presAssocID="{F33A5EE2-A2CF-484E-8A7B-911A150884B2}" presName="rootConnector" presStyleLbl="node3" presStyleIdx="14" presStyleCnt="28"/>
      <dgm:spPr/>
    </dgm:pt>
    <dgm:pt modelId="{1EF9C801-189A-4D47-82D8-7F7C2CF71A6F}" type="pres">
      <dgm:prSet presAssocID="{F33A5EE2-A2CF-484E-8A7B-911A150884B2}" presName="hierChild4" presStyleCnt="0"/>
      <dgm:spPr/>
    </dgm:pt>
    <dgm:pt modelId="{E4073853-E7A7-48B4-BACA-FFE2932E5B4C}" type="pres">
      <dgm:prSet presAssocID="{F33A5EE2-A2CF-484E-8A7B-911A150884B2}" presName="hierChild5" presStyleCnt="0"/>
      <dgm:spPr/>
    </dgm:pt>
    <dgm:pt modelId="{F9721ED2-30BA-4072-BC74-1F304C8FC0E5}" type="pres">
      <dgm:prSet presAssocID="{D220A13B-8F1E-468F-82C7-70F47B586B66}" presName="hierChild5" presStyleCnt="0"/>
      <dgm:spPr/>
    </dgm:pt>
    <dgm:pt modelId="{C2EFA9A1-6CA6-4941-8A47-8DE384814D70}" type="pres">
      <dgm:prSet presAssocID="{1A8A9C50-863B-4B42-A67C-6E56A8BED035}" presName="Name37" presStyleLbl="parChTrans1D2" presStyleIdx="3" presStyleCnt="6"/>
      <dgm:spPr/>
    </dgm:pt>
    <dgm:pt modelId="{04CD6D5F-5B18-46E1-AE1A-763A71B91ADF}" type="pres">
      <dgm:prSet presAssocID="{B9C4C665-1F09-4978-805F-7F4AB198114A}" presName="hierRoot2" presStyleCnt="0">
        <dgm:presLayoutVars>
          <dgm:hierBranch val="init"/>
        </dgm:presLayoutVars>
      </dgm:prSet>
      <dgm:spPr/>
    </dgm:pt>
    <dgm:pt modelId="{AB727BE8-19AD-4B5F-AC95-5EEA03AECEDF}" type="pres">
      <dgm:prSet presAssocID="{B9C4C665-1F09-4978-805F-7F4AB198114A}" presName="rootComposite" presStyleCnt="0"/>
      <dgm:spPr/>
    </dgm:pt>
    <dgm:pt modelId="{B3E31A91-F33C-4639-BCEB-413A151701C6}" type="pres">
      <dgm:prSet presAssocID="{B9C4C665-1F09-4978-805F-7F4AB198114A}" presName="rootText" presStyleLbl="node2" presStyleIdx="3" presStyleCnt="6">
        <dgm:presLayoutVars>
          <dgm:chPref val="3"/>
        </dgm:presLayoutVars>
      </dgm:prSet>
      <dgm:spPr/>
    </dgm:pt>
    <dgm:pt modelId="{B9DF87EC-68ED-4CC6-A058-18BDC7942E84}" type="pres">
      <dgm:prSet presAssocID="{B9C4C665-1F09-4978-805F-7F4AB198114A}" presName="rootConnector" presStyleLbl="node2" presStyleIdx="3" presStyleCnt="6"/>
      <dgm:spPr/>
    </dgm:pt>
    <dgm:pt modelId="{D24FBB85-E511-4590-9D6F-12A29F347C98}" type="pres">
      <dgm:prSet presAssocID="{B9C4C665-1F09-4978-805F-7F4AB198114A}" presName="hierChild4" presStyleCnt="0"/>
      <dgm:spPr/>
    </dgm:pt>
    <dgm:pt modelId="{12A8D5DD-32A8-4748-9250-132C912FE24E}" type="pres">
      <dgm:prSet presAssocID="{60809221-6C97-4C47-A15A-6AC9F6D2F20E}" presName="Name37" presStyleLbl="parChTrans1D3" presStyleIdx="15" presStyleCnt="28"/>
      <dgm:spPr/>
    </dgm:pt>
    <dgm:pt modelId="{2FC65BD9-359D-44A8-B282-A327595045D8}" type="pres">
      <dgm:prSet presAssocID="{2E090F9B-4901-49B9-880E-63C84E71D859}" presName="hierRoot2" presStyleCnt="0">
        <dgm:presLayoutVars>
          <dgm:hierBranch val="init"/>
        </dgm:presLayoutVars>
      </dgm:prSet>
      <dgm:spPr/>
    </dgm:pt>
    <dgm:pt modelId="{FAB2BF4D-EB1D-4CE5-AED7-226AC4FF5075}" type="pres">
      <dgm:prSet presAssocID="{2E090F9B-4901-49B9-880E-63C84E71D859}" presName="rootComposite" presStyleCnt="0"/>
      <dgm:spPr/>
    </dgm:pt>
    <dgm:pt modelId="{12A2836B-CA16-489E-97CC-34448E041DE7}" type="pres">
      <dgm:prSet presAssocID="{2E090F9B-4901-49B9-880E-63C84E71D859}" presName="rootText" presStyleLbl="node3" presStyleIdx="15" presStyleCnt="28">
        <dgm:presLayoutVars>
          <dgm:chPref val="3"/>
        </dgm:presLayoutVars>
      </dgm:prSet>
      <dgm:spPr/>
    </dgm:pt>
    <dgm:pt modelId="{7A10621B-2038-4FF3-BAB6-9DFF8662A264}" type="pres">
      <dgm:prSet presAssocID="{2E090F9B-4901-49B9-880E-63C84E71D859}" presName="rootConnector" presStyleLbl="node3" presStyleIdx="15" presStyleCnt="28"/>
      <dgm:spPr/>
    </dgm:pt>
    <dgm:pt modelId="{EDB44D0C-A420-4843-8800-FA0A91BF64D8}" type="pres">
      <dgm:prSet presAssocID="{2E090F9B-4901-49B9-880E-63C84E71D859}" presName="hierChild4" presStyleCnt="0"/>
      <dgm:spPr/>
    </dgm:pt>
    <dgm:pt modelId="{EF9FFA54-C478-480B-843F-F08EED76158F}" type="pres">
      <dgm:prSet presAssocID="{2E090F9B-4901-49B9-880E-63C84E71D859}" presName="hierChild5" presStyleCnt="0"/>
      <dgm:spPr/>
    </dgm:pt>
    <dgm:pt modelId="{BC1F8B47-7DB9-4D6B-AED7-0FAFB8248B55}" type="pres">
      <dgm:prSet presAssocID="{02097B8B-4AD9-4CB7-BB3C-5DF9BFA3737C}" presName="Name37" presStyleLbl="parChTrans1D3" presStyleIdx="16" presStyleCnt="28"/>
      <dgm:spPr/>
    </dgm:pt>
    <dgm:pt modelId="{C6F353EA-4EB4-4F83-872E-CD65ACD23DE4}" type="pres">
      <dgm:prSet presAssocID="{D695EA72-92B6-43CD-B117-542575ED7141}" presName="hierRoot2" presStyleCnt="0">
        <dgm:presLayoutVars>
          <dgm:hierBranch val="init"/>
        </dgm:presLayoutVars>
      </dgm:prSet>
      <dgm:spPr/>
    </dgm:pt>
    <dgm:pt modelId="{8DA23D7E-0DE1-42A1-9588-BF8D3D862747}" type="pres">
      <dgm:prSet presAssocID="{D695EA72-92B6-43CD-B117-542575ED7141}" presName="rootComposite" presStyleCnt="0"/>
      <dgm:spPr/>
    </dgm:pt>
    <dgm:pt modelId="{B830D946-12F4-46DA-B377-60323B20C5B0}" type="pres">
      <dgm:prSet presAssocID="{D695EA72-92B6-43CD-B117-542575ED7141}" presName="rootText" presStyleLbl="node3" presStyleIdx="16" presStyleCnt="28">
        <dgm:presLayoutVars>
          <dgm:chPref val="3"/>
        </dgm:presLayoutVars>
      </dgm:prSet>
      <dgm:spPr/>
    </dgm:pt>
    <dgm:pt modelId="{63A8026E-78F0-4851-B533-E4973DBE23DA}" type="pres">
      <dgm:prSet presAssocID="{D695EA72-92B6-43CD-B117-542575ED7141}" presName="rootConnector" presStyleLbl="node3" presStyleIdx="16" presStyleCnt="28"/>
      <dgm:spPr/>
    </dgm:pt>
    <dgm:pt modelId="{87CC1DF5-CC3F-4283-B20E-7CE416F18331}" type="pres">
      <dgm:prSet presAssocID="{D695EA72-92B6-43CD-B117-542575ED7141}" presName="hierChild4" presStyleCnt="0"/>
      <dgm:spPr/>
    </dgm:pt>
    <dgm:pt modelId="{2C2BBD66-2CA8-4ABD-B650-51493AF3D9D2}" type="pres">
      <dgm:prSet presAssocID="{D695EA72-92B6-43CD-B117-542575ED7141}" presName="hierChild5" presStyleCnt="0"/>
      <dgm:spPr/>
    </dgm:pt>
    <dgm:pt modelId="{84CEE927-2EAC-4BC9-86A2-4644B7D61174}" type="pres">
      <dgm:prSet presAssocID="{74AA338D-8979-4078-96DC-157B34DEC6ED}" presName="Name37" presStyleLbl="parChTrans1D3" presStyleIdx="17" presStyleCnt="28"/>
      <dgm:spPr/>
    </dgm:pt>
    <dgm:pt modelId="{52EA3598-BC6F-4AAC-96E4-5274EF229BDB}" type="pres">
      <dgm:prSet presAssocID="{086D07B9-C0F3-4710-9F3E-98A91CB5AB59}" presName="hierRoot2" presStyleCnt="0">
        <dgm:presLayoutVars>
          <dgm:hierBranch val="init"/>
        </dgm:presLayoutVars>
      </dgm:prSet>
      <dgm:spPr/>
    </dgm:pt>
    <dgm:pt modelId="{3FD2CF9A-91DF-4F2B-816C-7B10D8D524C2}" type="pres">
      <dgm:prSet presAssocID="{086D07B9-C0F3-4710-9F3E-98A91CB5AB59}" presName="rootComposite" presStyleCnt="0"/>
      <dgm:spPr/>
    </dgm:pt>
    <dgm:pt modelId="{348BAFE5-7668-45FB-B549-E51156B62F13}" type="pres">
      <dgm:prSet presAssocID="{086D07B9-C0F3-4710-9F3E-98A91CB5AB59}" presName="rootText" presStyleLbl="node3" presStyleIdx="17" presStyleCnt="28">
        <dgm:presLayoutVars>
          <dgm:chPref val="3"/>
        </dgm:presLayoutVars>
      </dgm:prSet>
      <dgm:spPr/>
    </dgm:pt>
    <dgm:pt modelId="{5F05EC08-B909-4490-A294-156241F773C4}" type="pres">
      <dgm:prSet presAssocID="{086D07B9-C0F3-4710-9F3E-98A91CB5AB59}" presName="rootConnector" presStyleLbl="node3" presStyleIdx="17" presStyleCnt="28"/>
      <dgm:spPr/>
    </dgm:pt>
    <dgm:pt modelId="{0C7CE1D5-DAE9-419B-AC0A-504F2015BB30}" type="pres">
      <dgm:prSet presAssocID="{086D07B9-C0F3-4710-9F3E-98A91CB5AB59}" presName="hierChild4" presStyleCnt="0"/>
      <dgm:spPr/>
    </dgm:pt>
    <dgm:pt modelId="{DD90C003-5C27-4FCA-8D3B-E004D97D8D5C}" type="pres">
      <dgm:prSet presAssocID="{086D07B9-C0F3-4710-9F3E-98A91CB5AB59}" presName="hierChild5" presStyleCnt="0"/>
      <dgm:spPr/>
    </dgm:pt>
    <dgm:pt modelId="{42AB63E4-BFA0-4F80-919C-7AC9383B3E94}" type="pres">
      <dgm:prSet presAssocID="{6ED80765-13B6-474E-93E9-07AA1EE5D7DD}" presName="Name37" presStyleLbl="parChTrans1D3" presStyleIdx="18" presStyleCnt="28"/>
      <dgm:spPr/>
    </dgm:pt>
    <dgm:pt modelId="{F3462FCE-CE48-46A6-BF77-7B4942503C5D}" type="pres">
      <dgm:prSet presAssocID="{DBD020BB-C8E4-41BE-831B-07DBAD3A3341}" presName="hierRoot2" presStyleCnt="0">
        <dgm:presLayoutVars>
          <dgm:hierBranch val="init"/>
        </dgm:presLayoutVars>
      </dgm:prSet>
      <dgm:spPr/>
    </dgm:pt>
    <dgm:pt modelId="{47E6976E-7845-4C6A-B2FE-CE26AC51B61A}" type="pres">
      <dgm:prSet presAssocID="{DBD020BB-C8E4-41BE-831B-07DBAD3A3341}" presName="rootComposite" presStyleCnt="0"/>
      <dgm:spPr/>
    </dgm:pt>
    <dgm:pt modelId="{D568A7A6-C940-4BF6-B5F1-425EC48869A3}" type="pres">
      <dgm:prSet presAssocID="{DBD020BB-C8E4-41BE-831B-07DBAD3A3341}" presName="rootText" presStyleLbl="node3" presStyleIdx="18" presStyleCnt="28">
        <dgm:presLayoutVars>
          <dgm:chPref val="3"/>
        </dgm:presLayoutVars>
      </dgm:prSet>
      <dgm:spPr/>
    </dgm:pt>
    <dgm:pt modelId="{A6EE5B7D-AEC4-4D0C-BB18-EF38571CF502}" type="pres">
      <dgm:prSet presAssocID="{DBD020BB-C8E4-41BE-831B-07DBAD3A3341}" presName="rootConnector" presStyleLbl="node3" presStyleIdx="18" presStyleCnt="28"/>
      <dgm:spPr/>
    </dgm:pt>
    <dgm:pt modelId="{80B34559-DB03-4B9F-8050-673D79EFBD71}" type="pres">
      <dgm:prSet presAssocID="{DBD020BB-C8E4-41BE-831B-07DBAD3A3341}" presName="hierChild4" presStyleCnt="0"/>
      <dgm:spPr/>
    </dgm:pt>
    <dgm:pt modelId="{EE504F5D-BA2B-41A4-BF1F-9D98AF7CE2FC}" type="pres">
      <dgm:prSet presAssocID="{DBD020BB-C8E4-41BE-831B-07DBAD3A3341}" presName="hierChild5" presStyleCnt="0"/>
      <dgm:spPr/>
    </dgm:pt>
    <dgm:pt modelId="{E0B300C3-0D19-4DE7-98D1-D04851A9878A}" type="pres">
      <dgm:prSet presAssocID="{11CE7ABE-2790-4A35-A3D6-12349D777A2F}" presName="Name37" presStyleLbl="parChTrans1D3" presStyleIdx="19" presStyleCnt="28"/>
      <dgm:spPr/>
    </dgm:pt>
    <dgm:pt modelId="{A8E23B29-AC57-4C82-9AB3-7DBE2F3CB03A}" type="pres">
      <dgm:prSet presAssocID="{6DFA1C72-2888-4EAB-9E69-3B8A8588105A}" presName="hierRoot2" presStyleCnt="0">
        <dgm:presLayoutVars>
          <dgm:hierBranch val="init"/>
        </dgm:presLayoutVars>
      </dgm:prSet>
      <dgm:spPr/>
    </dgm:pt>
    <dgm:pt modelId="{79324899-5301-4041-8DAA-3483FD9675C3}" type="pres">
      <dgm:prSet presAssocID="{6DFA1C72-2888-4EAB-9E69-3B8A8588105A}" presName="rootComposite" presStyleCnt="0"/>
      <dgm:spPr/>
    </dgm:pt>
    <dgm:pt modelId="{1160403C-2486-4FA7-93BF-C43A325034DE}" type="pres">
      <dgm:prSet presAssocID="{6DFA1C72-2888-4EAB-9E69-3B8A8588105A}" presName="rootText" presStyleLbl="node3" presStyleIdx="19" presStyleCnt="28">
        <dgm:presLayoutVars>
          <dgm:chPref val="3"/>
        </dgm:presLayoutVars>
      </dgm:prSet>
      <dgm:spPr/>
    </dgm:pt>
    <dgm:pt modelId="{F4619476-179E-4A84-9AFD-3FA5F5AF1FF8}" type="pres">
      <dgm:prSet presAssocID="{6DFA1C72-2888-4EAB-9E69-3B8A8588105A}" presName="rootConnector" presStyleLbl="node3" presStyleIdx="19" presStyleCnt="28"/>
      <dgm:spPr/>
    </dgm:pt>
    <dgm:pt modelId="{08B54B9E-DA48-4BB1-935A-259B087A0ECB}" type="pres">
      <dgm:prSet presAssocID="{6DFA1C72-2888-4EAB-9E69-3B8A8588105A}" presName="hierChild4" presStyleCnt="0"/>
      <dgm:spPr/>
    </dgm:pt>
    <dgm:pt modelId="{0FF0EC5B-CDA4-4530-B2B1-97CB0A9CA703}" type="pres">
      <dgm:prSet presAssocID="{6DFA1C72-2888-4EAB-9E69-3B8A8588105A}" presName="hierChild5" presStyleCnt="0"/>
      <dgm:spPr/>
    </dgm:pt>
    <dgm:pt modelId="{A3A54605-14C5-40E1-ADB9-1BEECB2C3FBE}" type="pres">
      <dgm:prSet presAssocID="{B9C4C665-1F09-4978-805F-7F4AB198114A}" presName="hierChild5" presStyleCnt="0"/>
      <dgm:spPr/>
    </dgm:pt>
    <dgm:pt modelId="{3DC2E87A-5A21-483C-BD3B-0DF66BF69BC8}" type="pres">
      <dgm:prSet presAssocID="{E6E7FACA-BFAB-4BDC-9E11-4A4A90C6A50B}" presName="Name37" presStyleLbl="parChTrans1D2" presStyleIdx="4" presStyleCnt="6"/>
      <dgm:spPr/>
    </dgm:pt>
    <dgm:pt modelId="{93931AFF-0406-4E02-A8A1-604A61379E6E}" type="pres">
      <dgm:prSet presAssocID="{4B2DA0F2-A21E-458A-AF50-29E1F87D63B3}" presName="hierRoot2" presStyleCnt="0">
        <dgm:presLayoutVars>
          <dgm:hierBranch val="init"/>
        </dgm:presLayoutVars>
      </dgm:prSet>
      <dgm:spPr/>
    </dgm:pt>
    <dgm:pt modelId="{3E692849-0CD0-4339-B76D-89EA119CCD53}" type="pres">
      <dgm:prSet presAssocID="{4B2DA0F2-A21E-458A-AF50-29E1F87D63B3}" presName="rootComposite" presStyleCnt="0"/>
      <dgm:spPr/>
    </dgm:pt>
    <dgm:pt modelId="{D18BF322-C5F5-400E-96A5-15D71C5A8534}" type="pres">
      <dgm:prSet presAssocID="{4B2DA0F2-A21E-458A-AF50-29E1F87D63B3}" presName="rootText" presStyleLbl="node2" presStyleIdx="4" presStyleCnt="6">
        <dgm:presLayoutVars>
          <dgm:chPref val="3"/>
        </dgm:presLayoutVars>
      </dgm:prSet>
      <dgm:spPr/>
    </dgm:pt>
    <dgm:pt modelId="{906BAC9A-7793-4C85-8BC3-578BC4BFAA78}" type="pres">
      <dgm:prSet presAssocID="{4B2DA0F2-A21E-458A-AF50-29E1F87D63B3}" presName="rootConnector" presStyleLbl="node2" presStyleIdx="4" presStyleCnt="6"/>
      <dgm:spPr/>
    </dgm:pt>
    <dgm:pt modelId="{F011D5DD-F6C3-411A-A5D9-18708349C8D2}" type="pres">
      <dgm:prSet presAssocID="{4B2DA0F2-A21E-458A-AF50-29E1F87D63B3}" presName="hierChild4" presStyleCnt="0"/>
      <dgm:spPr/>
    </dgm:pt>
    <dgm:pt modelId="{D1C6AC2B-B0ED-424F-9FA2-D6D4C4A6A414}" type="pres">
      <dgm:prSet presAssocID="{A524C86B-3F51-4E92-A95A-7645CCC02FD3}" presName="Name37" presStyleLbl="parChTrans1D3" presStyleIdx="20" presStyleCnt="28"/>
      <dgm:spPr/>
    </dgm:pt>
    <dgm:pt modelId="{ED730B4C-57BF-4FF0-885A-FF0E184CC4DF}" type="pres">
      <dgm:prSet presAssocID="{658C10FC-5D1D-43D7-803E-6A988F1EB739}" presName="hierRoot2" presStyleCnt="0">
        <dgm:presLayoutVars>
          <dgm:hierBranch val="init"/>
        </dgm:presLayoutVars>
      </dgm:prSet>
      <dgm:spPr/>
    </dgm:pt>
    <dgm:pt modelId="{05B7E8CE-9910-48A9-B09A-987E03CEAAB8}" type="pres">
      <dgm:prSet presAssocID="{658C10FC-5D1D-43D7-803E-6A988F1EB739}" presName="rootComposite" presStyleCnt="0"/>
      <dgm:spPr/>
    </dgm:pt>
    <dgm:pt modelId="{9F5E2FF3-9F9A-407A-802C-9A48D55E868E}" type="pres">
      <dgm:prSet presAssocID="{658C10FC-5D1D-43D7-803E-6A988F1EB739}" presName="rootText" presStyleLbl="node3" presStyleIdx="20" presStyleCnt="28">
        <dgm:presLayoutVars>
          <dgm:chPref val="3"/>
        </dgm:presLayoutVars>
      </dgm:prSet>
      <dgm:spPr/>
    </dgm:pt>
    <dgm:pt modelId="{C87183BA-F538-42AC-836E-116AB670C785}" type="pres">
      <dgm:prSet presAssocID="{658C10FC-5D1D-43D7-803E-6A988F1EB739}" presName="rootConnector" presStyleLbl="node3" presStyleIdx="20" presStyleCnt="28"/>
      <dgm:spPr/>
    </dgm:pt>
    <dgm:pt modelId="{E1E9A319-99FF-435D-B0BB-23733D223126}" type="pres">
      <dgm:prSet presAssocID="{658C10FC-5D1D-43D7-803E-6A988F1EB739}" presName="hierChild4" presStyleCnt="0"/>
      <dgm:spPr/>
    </dgm:pt>
    <dgm:pt modelId="{1CF7B25C-A7BE-4D00-A5B3-FDF548D3D5A2}" type="pres">
      <dgm:prSet presAssocID="{658C10FC-5D1D-43D7-803E-6A988F1EB739}" presName="hierChild5" presStyleCnt="0"/>
      <dgm:spPr/>
    </dgm:pt>
    <dgm:pt modelId="{9F5961DD-123F-47AB-AEFA-BDA8427B1161}" type="pres">
      <dgm:prSet presAssocID="{27C15DD7-5348-4DAA-B4FF-B3764EC1B2A2}" presName="Name37" presStyleLbl="parChTrans1D3" presStyleIdx="21" presStyleCnt="28"/>
      <dgm:spPr/>
    </dgm:pt>
    <dgm:pt modelId="{94CD7EB8-D888-4E91-9DE9-4157BC8BD591}" type="pres">
      <dgm:prSet presAssocID="{2DCD2D6B-DE13-488D-AA4C-10B76C11A358}" presName="hierRoot2" presStyleCnt="0">
        <dgm:presLayoutVars>
          <dgm:hierBranch val="init"/>
        </dgm:presLayoutVars>
      </dgm:prSet>
      <dgm:spPr/>
    </dgm:pt>
    <dgm:pt modelId="{E3DDB0AB-4E42-4AE5-85A6-5A2ECAABB28D}" type="pres">
      <dgm:prSet presAssocID="{2DCD2D6B-DE13-488D-AA4C-10B76C11A358}" presName="rootComposite" presStyleCnt="0"/>
      <dgm:spPr/>
    </dgm:pt>
    <dgm:pt modelId="{CCF3C26E-5C9B-4B63-B81D-205FA58DBB1E}" type="pres">
      <dgm:prSet presAssocID="{2DCD2D6B-DE13-488D-AA4C-10B76C11A358}" presName="rootText" presStyleLbl="node3" presStyleIdx="21" presStyleCnt="28">
        <dgm:presLayoutVars>
          <dgm:chPref val="3"/>
        </dgm:presLayoutVars>
      </dgm:prSet>
      <dgm:spPr/>
    </dgm:pt>
    <dgm:pt modelId="{8C0B511A-DED6-4DA7-9751-0EE73FF12044}" type="pres">
      <dgm:prSet presAssocID="{2DCD2D6B-DE13-488D-AA4C-10B76C11A358}" presName="rootConnector" presStyleLbl="node3" presStyleIdx="21" presStyleCnt="28"/>
      <dgm:spPr/>
    </dgm:pt>
    <dgm:pt modelId="{05F90CD1-25A2-4FC2-ADED-CAEC00734193}" type="pres">
      <dgm:prSet presAssocID="{2DCD2D6B-DE13-488D-AA4C-10B76C11A358}" presName="hierChild4" presStyleCnt="0"/>
      <dgm:spPr/>
    </dgm:pt>
    <dgm:pt modelId="{0AEA20D2-415C-4B0A-9385-A6A2838E941E}" type="pres">
      <dgm:prSet presAssocID="{2DCD2D6B-DE13-488D-AA4C-10B76C11A358}" presName="hierChild5" presStyleCnt="0"/>
      <dgm:spPr/>
    </dgm:pt>
    <dgm:pt modelId="{FF548611-7A04-4D5C-AB90-6C10EAF7830B}" type="pres">
      <dgm:prSet presAssocID="{1839A269-8267-41A4-BDD9-F4B2E95DA32B}" presName="Name37" presStyleLbl="parChTrans1D3" presStyleIdx="22" presStyleCnt="28"/>
      <dgm:spPr/>
    </dgm:pt>
    <dgm:pt modelId="{8879D089-9988-41BF-9EEA-CC09E483A10C}" type="pres">
      <dgm:prSet presAssocID="{0B438000-D3C7-4CEB-B5EF-3EAFCA0A785D}" presName="hierRoot2" presStyleCnt="0">
        <dgm:presLayoutVars>
          <dgm:hierBranch val="init"/>
        </dgm:presLayoutVars>
      </dgm:prSet>
      <dgm:spPr/>
    </dgm:pt>
    <dgm:pt modelId="{CAA4BCEC-6071-4C59-8663-A7820147C185}" type="pres">
      <dgm:prSet presAssocID="{0B438000-D3C7-4CEB-B5EF-3EAFCA0A785D}" presName="rootComposite" presStyleCnt="0"/>
      <dgm:spPr/>
    </dgm:pt>
    <dgm:pt modelId="{3F4E5D73-5DC2-4BCC-A1A5-B6A6F7007855}" type="pres">
      <dgm:prSet presAssocID="{0B438000-D3C7-4CEB-B5EF-3EAFCA0A785D}" presName="rootText" presStyleLbl="node3" presStyleIdx="22" presStyleCnt="28">
        <dgm:presLayoutVars>
          <dgm:chPref val="3"/>
        </dgm:presLayoutVars>
      </dgm:prSet>
      <dgm:spPr/>
    </dgm:pt>
    <dgm:pt modelId="{69D88AA3-307B-49BF-9ED7-708B8C390CE0}" type="pres">
      <dgm:prSet presAssocID="{0B438000-D3C7-4CEB-B5EF-3EAFCA0A785D}" presName="rootConnector" presStyleLbl="node3" presStyleIdx="22" presStyleCnt="28"/>
      <dgm:spPr/>
    </dgm:pt>
    <dgm:pt modelId="{AA839583-0EE1-4462-8F0D-C8137C294B58}" type="pres">
      <dgm:prSet presAssocID="{0B438000-D3C7-4CEB-B5EF-3EAFCA0A785D}" presName="hierChild4" presStyleCnt="0"/>
      <dgm:spPr/>
    </dgm:pt>
    <dgm:pt modelId="{71A6E25D-366C-47BA-A412-0FFEC5D309FF}" type="pres">
      <dgm:prSet presAssocID="{0B438000-D3C7-4CEB-B5EF-3EAFCA0A785D}" presName="hierChild5" presStyleCnt="0"/>
      <dgm:spPr/>
    </dgm:pt>
    <dgm:pt modelId="{093D9EE4-902B-42B1-903F-9D17AEAE5754}" type="pres">
      <dgm:prSet presAssocID="{0585FDDD-342A-46A7-AAB0-0788607E601B}" presName="Name37" presStyleLbl="parChTrans1D3" presStyleIdx="23" presStyleCnt="28"/>
      <dgm:spPr/>
    </dgm:pt>
    <dgm:pt modelId="{F851173D-0055-45A4-B0CC-275B646BD01F}" type="pres">
      <dgm:prSet presAssocID="{A9F15122-3257-495B-B691-215C55F3FF61}" presName="hierRoot2" presStyleCnt="0">
        <dgm:presLayoutVars>
          <dgm:hierBranch val="init"/>
        </dgm:presLayoutVars>
      </dgm:prSet>
      <dgm:spPr/>
    </dgm:pt>
    <dgm:pt modelId="{556EE189-6055-412B-9035-67382B0F19C3}" type="pres">
      <dgm:prSet presAssocID="{A9F15122-3257-495B-B691-215C55F3FF61}" presName="rootComposite" presStyleCnt="0"/>
      <dgm:spPr/>
    </dgm:pt>
    <dgm:pt modelId="{74AE5827-C96B-441F-9BC9-B935166B288B}" type="pres">
      <dgm:prSet presAssocID="{A9F15122-3257-495B-B691-215C55F3FF61}" presName="rootText" presStyleLbl="node3" presStyleIdx="23" presStyleCnt="28">
        <dgm:presLayoutVars>
          <dgm:chPref val="3"/>
        </dgm:presLayoutVars>
      </dgm:prSet>
      <dgm:spPr/>
    </dgm:pt>
    <dgm:pt modelId="{BC4DC5FE-2499-493E-A1F0-4610A1A6673E}" type="pres">
      <dgm:prSet presAssocID="{A9F15122-3257-495B-B691-215C55F3FF61}" presName="rootConnector" presStyleLbl="node3" presStyleIdx="23" presStyleCnt="28"/>
      <dgm:spPr/>
    </dgm:pt>
    <dgm:pt modelId="{83387A82-367E-42B2-A22D-F62B321920EE}" type="pres">
      <dgm:prSet presAssocID="{A9F15122-3257-495B-B691-215C55F3FF61}" presName="hierChild4" presStyleCnt="0"/>
      <dgm:spPr/>
    </dgm:pt>
    <dgm:pt modelId="{DD301B44-5EF2-4C42-8C12-094CAD80E08F}" type="pres">
      <dgm:prSet presAssocID="{A9F15122-3257-495B-B691-215C55F3FF61}" presName="hierChild5" presStyleCnt="0"/>
      <dgm:spPr/>
    </dgm:pt>
    <dgm:pt modelId="{91AA311D-0247-49B6-AA05-F9026F6D91DB}" type="pres">
      <dgm:prSet presAssocID="{2818271B-C815-44FF-B7CA-520F2C7F9DBE}" presName="Name37" presStyleLbl="parChTrans1D3" presStyleIdx="24" presStyleCnt="28"/>
      <dgm:spPr/>
    </dgm:pt>
    <dgm:pt modelId="{3F55C6CF-88E0-4CCE-B99F-2642AC77954F}" type="pres">
      <dgm:prSet presAssocID="{BA9ED9C7-5A5A-44C1-BC82-A7CC83DDFA57}" presName="hierRoot2" presStyleCnt="0">
        <dgm:presLayoutVars>
          <dgm:hierBranch val="init"/>
        </dgm:presLayoutVars>
      </dgm:prSet>
      <dgm:spPr/>
    </dgm:pt>
    <dgm:pt modelId="{9F431F68-0FF2-49E9-9D96-D316B5BB162F}" type="pres">
      <dgm:prSet presAssocID="{BA9ED9C7-5A5A-44C1-BC82-A7CC83DDFA57}" presName="rootComposite" presStyleCnt="0"/>
      <dgm:spPr/>
    </dgm:pt>
    <dgm:pt modelId="{BC934FE5-F520-44B9-98D6-4A2AF84EC165}" type="pres">
      <dgm:prSet presAssocID="{BA9ED9C7-5A5A-44C1-BC82-A7CC83DDFA57}" presName="rootText" presStyleLbl="node3" presStyleIdx="24" presStyleCnt="28">
        <dgm:presLayoutVars>
          <dgm:chPref val="3"/>
        </dgm:presLayoutVars>
      </dgm:prSet>
      <dgm:spPr/>
    </dgm:pt>
    <dgm:pt modelId="{EBDC3C4F-D88E-4114-8783-3CDC82B9BA4F}" type="pres">
      <dgm:prSet presAssocID="{BA9ED9C7-5A5A-44C1-BC82-A7CC83DDFA57}" presName="rootConnector" presStyleLbl="node3" presStyleIdx="24" presStyleCnt="28"/>
      <dgm:spPr/>
    </dgm:pt>
    <dgm:pt modelId="{FE2FF2CB-1C8A-469B-8634-56564D72CBBA}" type="pres">
      <dgm:prSet presAssocID="{BA9ED9C7-5A5A-44C1-BC82-A7CC83DDFA57}" presName="hierChild4" presStyleCnt="0"/>
      <dgm:spPr/>
    </dgm:pt>
    <dgm:pt modelId="{D3AE4C6F-4B08-4E82-AD76-2ED78BB04EF8}" type="pres">
      <dgm:prSet presAssocID="{BA9ED9C7-5A5A-44C1-BC82-A7CC83DDFA57}" presName="hierChild5" presStyleCnt="0"/>
      <dgm:spPr/>
    </dgm:pt>
    <dgm:pt modelId="{53EA572E-2714-454B-85FF-F8127207D37E}" type="pres">
      <dgm:prSet presAssocID="{4B2DA0F2-A21E-458A-AF50-29E1F87D63B3}" presName="hierChild5" presStyleCnt="0"/>
      <dgm:spPr/>
    </dgm:pt>
    <dgm:pt modelId="{7811039B-9E53-4960-8749-6B2E2D304B8E}" type="pres">
      <dgm:prSet presAssocID="{10E9759F-34FE-48E5-81B1-0D0632F36026}" presName="Name37" presStyleLbl="parChTrans1D2" presStyleIdx="5" presStyleCnt="6"/>
      <dgm:spPr/>
    </dgm:pt>
    <dgm:pt modelId="{A243AD2A-0E24-43F6-B2E4-C79CBA15DC85}" type="pres">
      <dgm:prSet presAssocID="{38884569-228D-4A88-BABF-F9DB813AA82B}" presName="hierRoot2" presStyleCnt="0">
        <dgm:presLayoutVars>
          <dgm:hierBranch val="init"/>
        </dgm:presLayoutVars>
      </dgm:prSet>
      <dgm:spPr/>
    </dgm:pt>
    <dgm:pt modelId="{2FD347DE-613F-4639-814E-7E14A8AB24DF}" type="pres">
      <dgm:prSet presAssocID="{38884569-228D-4A88-BABF-F9DB813AA82B}" presName="rootComposite" presStyleCnt="0"/>
      <dgm:spPr/>
    </dgm:pt>
    <dgm:pt modelId="{3F307544-21A5-4422-A5D1-74880ECCFCCD}" type="pres">
      <dgm:prSet presAssocID="{38884569-228D-4A88-BABF-F9DB813AA82B}" presName="rootText" presStyleLbl="node2" presStyleIdx="5" presStyleCnt="6">
        <dgm:presLayoutVars>
          <dgm:chPref val="3"/>
        </dgm:presLayoutVars>
      </dgm:prSet>
      <dgm:spPr/>
    </dgm:pt>
    <dgm:pt modelId="{445C5C2F-B227-4FC7-BBA9-DFBEF59CCC7D}" type="pres">
      <dgm:prSet presAssocID="{38884569-228D-4A88-BABF-F9DB813AA82B}" presName="rootConnector" presStyleLbl="node2" presStyleIdx="5" presStyleCnt="6"/>
      <dgm:spPr/>
    </dgm:pt>
    <dgm:pt modelId="{53001C23-EF2D-4819-8432-56B5CE8A33F2}" type="pres">
      <dgm:prSet presAssocID="{38884569-228D-4A88-BABF-F9DB813AA82B}" presName="hierChild4" presStyleCnt="0"/>
      <dgm:spPr/>
    </dgm:pt>
    <dgm:pt modelId="{4C781013-32CE-447C-AA08-DCEBB0A1DCF6}" type="pres">
      <dgm:prSet presAssocID="{6036ACEB-96A5-4659-A2C1-61C304103038}" presName="Name37" presStyleLbl="parChTrans1D3" presStyleIdx="25" presStyleCnt="28"/>
      <dgm:spPr/>
    </dgm:pt>
    <dgm:pt modelId="{C2A33BF7-7F70-4C85-86D6-2DB7C2BDE28B}" type="pres">
      <dgm:prSet presAssocID="{FBEECE16-82BA-40C4-8609-4D3B8D357D9A}" presName="hierRoot2" presStyleCnt="0">
        <dgm:presLayoutVars>
          <dgm:hierBranch val="init"/>
        </dgm:presLayoutVars>
      </dgm:prSet>
      <dgm:spPr/>
    </dgm:pt>
    <dgm:pt modelId="{DAF12B2A-AA31-49E8-A48F-D87A70829BC9}" type="pres">
      <dgm:prSet presAssocID="{FBEECE16-82BA-40C4-8609-4D3B8D357D9A}" presName="rootComposite" presStyleCnt="0"/>
      <dgm:spPr/>
    </dgm:pt>
    <dgm:pt modelId="{A4223829-5044-4B88-AC56-89DA2CFB0ED7}" type="pres">
      <dgm:prSet presAssocID="{FBEECE16-82BA-40C4-8609-4D3B8D357D9A}" presName="rootText" presStyleLbl="node3" presStyleIdx="25" presStyleCnt="28">
        <dgm:presLayoutVars>
          <dgm:chPref val="3"/>
        </dgm:presLayoutVars>
      </dgm:prSet>
      <dgm:spPr/>
    </dgm:pt>
    <dgm:pt modelId="{9FEE204C-6393-4A1E-B1AC-2BC944D38C48}" type="pres">
      <dgm:prSet presAssocID="{FBEECE16-82BA-40C4-8609-4D3B8D357D9A}" presName="rootConnector" presStyleLbl="node3" presStyleIdx="25" presStyleCnt="28"/>
      <dgm:spPr/>
    </dgm:pt>
    <dgm:pt modelId="{08518E3C-A867-4E20-8FB8-9D0D93DBB4BB}" type="pres">
      <dgm:prSet presAssocID="{FBEECE16-82BA-40C4-8609-4D3B8D357D9A}" presName="hierChild4" presStyleCnt="0"/>
      <dgm:spPr/>
    </dgm:pt>
    <dgm:pt modelId="{793BEEF6-2EA0-4BC6-A45F-223CA36712A3}" type="pres">
      <dgm:prSet presAssocID="{FBEECE16-82BA-40C4-8609-4D3B8D357D9A}" presName="hierChild5" presStyleCnt="0"/>
      <dgm:spPr/>
    </dgm:pt>
    <dgm:pt modelId="{1013006C-A77A-45D7-9036-2AEAF4563F99}" type="pres">
      <dgm:prSet presAssocID="{8A6B88B7-1EF7-4EA3-A5FC-14EC10D105FD}" presName="Name37" presStyleLbl="parChTrans1D3" presStyleIdx="26" presStyleCnt="28"/>
      <dgm:spPr/>
    </dgm:pt>
    <dgm:pt modelId="{3B36212F-B54D-42B9-B651-BFD8789322EF}" type="pres">
      <dgm:prSet presAssocID="{BB11D739-415C-4C5D-AB21-FE34A494BBF2}" presName="hierRoot2" presStyleCnt="0">
        <dgm:presLayoutVars>
          <dgm:hierBranch val="init"/>
        </dgm:presLayoutVars>
      </dgm:prSet>
      <dgm:spPr/>
    </dgm:pt>
    <dgm:pt modelId="{CC600625-637B-499C-A414-B4D962B5C69C}" type="pres">
      <dgm:prSet presAssocID="{BB11D739-415C-4C5D-AB21-FE34A494BBF2}" presName="rootComposite" presStyleCnt="0"/>
      <dgm:spPr/>
    </dgm:pt>
    <dgm:pt modelId="{FE38CAAC-AA54-4D84-A304-95922ABE977E}" type="pres">
      <dgm:prSet presAssocID="{BB11D739-415C-4C5D-AB21-FE34A494BBF2}" presName="rootText" presStyleLbl="node3" presStyleIdx="26" presStyleCnt="28">
        <dgm:presLayoutVars>
          <dgm:chPref val="3"/>
        </dgm:presLayoutVars>
      </dgm:prSet>
      <dgm:spPr/>
    </dgm:pt>
    <dgm:pt modelId="{9A7B6B05-6545-4EEC-98B4-A0D9718014D7}" type="pres">
      <dgm:prSet presAssocID="{BB11D739-415C-4C5D-AB21-FE34A494BBF2}" presName="rootConnector" presStyleLbl="node3" presStyleIdx="26" presStyleCnt="28"/>
      <dgm:spPr/>
    </dgm:pt>
    <dgm:pt modelId="{901D6DBF-2634-4EAF-941F-497908775622}" type="pres">
      <dgm:prSet presAssocID="{BB11D739-415C-4C5D-AB21-FE34A494BBF2}" presName="hierChild4" presStyleCnt="0"/>
      <dgm:spPr/>
    </dgm:pt>
    <dgm:pt modelId="{6E44B24D-5DC9-4EF7-ACBB-3F7B8E677FF8}" type="pres">
      <dgm:prSet presAssocID="{BB11D739-415C-4C5D-AB21-FE34A494BBF2}" presName="hierChild5" presStyleCnt="0"/>
      <dgm:spPr/>
    </dgm:pt>
    <dgm:pt modelId="{E9DDA913-6DFF-465D-B32F-3C74AD071404}" type="pres">
      <dgm:prSet presAssocID="{A0C58A81-B65A-434B-A889-E8B6EDB00E02}" presName="Name37" presStyleLbl="parChTrans1D3" presStyleIdx="27" presStyleCnt="28"/>
      <dgm:spPr/>
    </dgm:pt>
    <dgm:pt modelId="{1AA89AD3-1412-47DE-941D-2562EC29382A}" type="pres">
      <dgm:prSet presAssocID="{80D1FEA4-87C8-4218-B656-9A60136A23AD}" presName="hierRoot2" presStyleCnt="0">
        <dgm:presLayoutVars>
          <dgm:hierBranch val="init"/>
        </dgm:presLayoutVars>
      </dgm:prSet>
      <dgm:spPr/>
    </dgm:pt>
    <dgm:pt modelId="{4C0AFF40-0C0F-4830-9891-BBFCCF1EFEC8}" type="pres">
      <dgm:prSet presAssocID="{80D1FEA4-87C8-4218-B656-9A60136A23AD}" presName="rootComposite" presStyleCnt="0"/>
      <dgm:spPr/>
    </dgm:pt>
    <dgm:pt modelId="{3B93419F-0BBF-4DE2-A032-BD9C95389D13}" type="pres">
      <dgm:prSet presAssocID="{80D1FEA4-87C8-4218-B656-9A60136A23AD}" presName="rootText" presStyleLbl="node3" presStyleIdx="27" presStyleCnt="28">
        <dgm:presLayoutVars>
          <dgm:chPref val="3"/>
        </dgm:presLayoutVars>
      </dgm:prSet>
      <dgm:spPr/>
    </dgm:pt>
    <dgm:pt modelId="{6734EBF9-16B9-4F1E-84D5-B5803082FFC4}" type="pres">
      <dgm:prSet presAssocID="{80D1FEA4-87C8-4218-B656-9A60136A23AD}" presName="rootConnector" presStyleLbl="node3" presStyleIdx="27" presStyleCnt="28"/>
      <dgm:spPr/>
    </dgm:pt>
    <dgm:pt modelId="{E584C79E-819D-4002-AD85-9DF7A1C681B8}" type="pres">
      <dgm:prSet presAssocID="{80D1FEA4-87C8-4218-B656-9A60136A23AD}" presName="hierChild4" presStyleCnt="0"/>
      <dgm:spPr/>
    </dgm:pt>
    <dgm:pt modelId="{368D5819-5FEA-4BAA-AE31-FF757C0D8499}" type="pres">
      <dgm:prSet presAssocID="{80D1FEA4-87C8-4218-B656-9A60136A23AD}" presName="hierChild5" presStyleCnt="0"/>
      <dgm:spPr/>
    </dgm:pt>
    <dgm:pt modelId="{A7FB9599-C4C3-47F9-8C74-7F967DBA864F}" type="pres">
      <dgm:prSet presAssocID="{38884569-228D-4A88-BABF-F9DB813AA82B}" presName="hierChild5" presStyleCnt="0"/>
      <dgm:spPr/>
    </dgm:pt>
    <dgm:pt modelId="{53CFD400-2BCD-4F65-AB9D-EA2837642738}" type="pres">
      <dgm:prSet presAssocID="{BDC5F6A9-EED0-4BBA-A953-80B17F5BCBF6}" presName="hierChild3" presStyleCnt="0"/>
      <dgm:spPr/>
    </dgm:pt>
  </dgm:ptLst>
  <dgm:cxnLst>
    <dgm:cxn modelId="{FB9EEC00-EF56-41EC-AE0C-606EC459B3D9}" type="presOf" srcId="{CC5A209D-1098-4CF6-9C19-CDBB138D5A53}" destId="{D99DC523-A0FB-4625-8353-E7BE586ED17F}" srcOrd="0" destOrd="0" presId="urn:microsoft.com/office/officeart/2005/8/layout/orgChart1"/>
    <dgm:cxn modelId="{23781401-55CF-466E-AD03-455A6C5BB3D5}" srcId="{AE4AEB44-270D-4A4A-986A-D0C7568AB1FF}" destId="{BE687275-8397-4EF9-B6E2-1BF3E4C48420}" srcOrd="1" destOrd="0" parTransId="{C66EEBF6-FECB-48CC-A1A7-E43C1E54BA0B}" sibTransId="{E280742C-1328-4111-BAF8-D083E097294C}"/>
    <dgm:cxn modelId="{B83C3B01-89EA-4B7C-854C-2649E84680C9}" type="presOf" srcId="{2E090F9B-4901-49B9-880E-63C84E71D859}" destId="{7A10621B-2038-4FF3-BAB6-9DFF8662A264}" srcOrd="1" destOrd="0" presId="urn:microsoft.com/office/officeart/2005/8/layout/orgChart1"/>
    <dgm:cxn modelId="{A5849101-B7E7-4148-B46E-78BECA5553EE}" type="presOf" srcId="{BCB523D8-A888-42BA-A806-A92D8845FA2D}" destId="{0C654247-2371-4550-BB8D-4EA0B20C794C}" srcOrd="1" destOrd="0" presId="urn:microsoft.com/office/officeart/2005/8/layout/orgChart1"/>
    <dgm:cxn modelId="{C030BC08-7A3A-4C10-8B0F-B2741A726885}" type="presOf" srcId="{33918B2B-A56B-49E5-A99E-FB8B8DD62018}" destId="{7F5BD868-3FB2-4432-B8E8-85AA2095AFDF}" srcOrd="0" destOrd="0" presId="urn:microsoft.com/office/officeart/2005/8/layout/orgChart1"/>
    <dgm:cxn modelId="{57BF7E0B-0242-4B8B-A767-32EB02749F9D}" type="presOf" srcId="{D220A13B-8F1E-468F-82C7-70F47B586B66}" destId="{42FEA8FD-5BEE-4922-B4D4-26BADF860916}" srcOrd="1" destOrd="0" presId="urn:microsoft.com/office/officeart/2005/8/layout/orgChart1"/>
    <dgm:cxn modelId="{33549F0C-A97B-4D08-A6E7-9BD8E28C5944}" type="presOf" srcId="{BE687275-8397-4EF9-B6E2-1BF3E4C48420}" destId="{307426CF-548E-4531-B4C7-AFEFC316EF27}" srcOrd="1" destOrd="0" presId="urn:microsoft.com/office/officeart/2005/8/layout/orgChart1"/>
    <dgm:cxn modelId="{22EAB60C-6FB9-4404-AA26-92805D28628B}" type="presOf" srcId="{2DCD2D6B-DE13-488D-AA4C-10B76C11A358}" destId="{8C0B511A-DED6-4DA7-9751-0EE73FF12044}" srcOrd="1" destOrd="0" presId="urn:microsoft.com/office/officeart/2005/8/layout/orgChart1"/>
    <dgm:cxn modelId="{061F3511-1F7D-4B04-A7FE-185E373E0611}" srcId="{38884569-228D-4A88-BABF-F9DB813AA82B}" destId="{80D1FEA4-87C8-4218-B656-9A60136A23AD}" srcOrd="2" destOrd="0" parTransId="{A0C58A81-B65A-434B-A889-E8B6EDB00E02}" sibTransId="{B9B78059-5B09-428E-ABEC-CE457E91D6AC}"/>
    <dgm:cxn modelId="{FAFE5913-8EC5-441D-9BD2-56C5471FC710}" srcId="{4B2DA0F2-A21E-458A-AF50-29E1F87D63B3}" destId="{658C10FC-5D1D-43D7-803E-6A988F1EB739}" srcOrd="0" destOrd="0" parTransId="{A524C86B-3F51-4E92-A95A-7645CCC02FD3}" sibTransId="{050E9ADB-09E6-4C3A-B27B-12B91DC8FFDE}"/>
    <dgm:cxn modelId="{6D833715-7BF7-4A60-AC53-0717C0382317}" type="presOf" srcId="{74AA338D-8979-4078-96DC-157B34DEC6ED}" destId="{84CEE927-2EAC-4BC9-86A2-4644B7D61174}" srcOrd="0" destOrd="0" presId="urn:microsoft.com/office/officeart/2005/8/layout/orgChart1"/>
    <dgm:cxn modelId="{858C8515-91FD-427B-8915-6C76B3716DCC}" type="presOf" srcId="{486C129E-19BA-42F5-AD85-4C9625721C2E}" destId="{AA116131-4843-456E-94F9-5DA0799EF5AE}" srcOrd="0" destOrd="0" presId="urn:microsoft.com/office/officeart/2005/8/layout/orgChart1"/>
    <dgm:cxn modelId="{37AFCF15-ED64-4D31-B10F-0C554BDB2DF4}" type="presOf" srcId="{A0D1D621-DA49-4B24-9D22-997E3493B32D}" destId="{E557D31B-FE7E-4CD7-9A79-5ADE246440F5}" srcOrd="0" destOrd="0" presId="urn:microsoft.com/office/officeart/2005/8/layout/orgChart1"/>
    <dgm:cxn modelId="{C573841C-296C-47DA-87D9-42BF97F9578E}" srcId="{B9C4C665-1F09-4978-805F-7F4AB198114A}" destId="{086D07B9-C0F3-4710-9F3E-98A91CB5AB59}" srcOrd="2" destOrd="0" parTransId="{74AA338D-8979-4078-96DC-157B34DEC6ED}" sibTransId="{56E419FB-B8DC-49C3-9E55-4ADD4200B497}"/>
    <dgm:cxn modelId="{F13FA91E-0405-41EB-9170-A1BCA0E89A2E}" type="presOf" srcId="{38884569-228D-4A88-BABF-F9DB813AA82B}" destId="{445C5C2F-B227-4FC7-BBA9-DFBEF59CCC7D}" srcOrd="1" destOrd="0" presId="urn:microsoft.com/office/officeart/2005/8/layout/orgChart1"/>
    <dgm:cxn modelId="{DC7DC820-6EE4-4DFA-A505-3603886CAF01}" type="presOf" srcId="{D1690AB5-434E-40B7-B982-9499266749A4}" destId="{44C0CF06-581E-418D-956C-690C200DE7F5}" srcOrd="0" destOrd="0" presId="urn:microsoft.com/office/officeart/2005/8/layout/orgChart1"/>
    <dgm:cxn modelId="{77D44221-0451-4097-87F2-DB5F38BF4D7D}" type="presOf" srcId="{686EE54E-2CC1-4ABF-B221-047AC1ECAA71}" destId="{E4707A64-0BF8-4865-8496-3A37C893985E}" srcOrd="0" destOrd="0" presId="urn:microsoft.com/office/officeart/2005/8/layout/orgChart1"/>
    <dgm:cxn modelId="{28DB2323-E90B-46B7-A46E-3DD1E9AA29D2}" type="presOf" srcId="{98685474-342B-4776-925B-4D5684551333}" destId="{C9DED0BE-5CF6-4D57-9E41-34DA0ACE07A9}" srcOrd="1" destOrd="0" presId="urn:microsoft.com/office/officeart/2005/8/layout/orgChart1"/>
    <dgm:cxn modelId="{ECEDE123-4541-437C-87FD-C3C30D99ECD9}" type="presOf" srcId="{ACD806BF-F1A9-459B-80ED-3E6C6DF22932}" destId="{13D350C9-59FE-44B0-8D5B-03426D8FDE20}" srcOrd="1" destOrd="0" presId="urn:microsoft.com/office/officeart/2005/8/layout/orgChart1"/>
    <dgm:cxn modelId="{22A1ED24-2AC0-4AA8-AF3D-7FD897B5CED7}" type="presOf" srcId="{7083A081-C47B-4C38-B0D7-7757D8FF67B8}" destId="{234F20C3-CD42-405E-A603-8BE6F9855121}" srcOrd="0" destOrd="0" presId="urn:microsoft.com/office/officeart/2005/8/layout/orgChart1"/>
    <dgm:cxn modelId="{88E41928-4551-4984-8780-DF2C4F4E460B}" srcId="{BDC5F6A9-EED0-4BBA-A953-80B17F5BCBF6}" destId="{4B2DA0F2-A21E-458A-AF50-29E1F87D63B3}" srcOrd="4" destOrd="0" parTransId="{E6E7FACA-BFAB-4BDC-9E11-4A4A90C6A50B}" sibTransId="{850464BF-AC37-4B15-9E8C-FF3798F16C47}"/>
    <dgm:cxn modelId="{A9AD5A28-6E67-4CC2-9ECC-061CDC9360F0}" type="presOf" srcId="{A0C58A81-B65A-434B-A889-E8B6EDB00E02}" destId="{E9DDA913-6DFF-465D-B32F-3C74AD071404}" srcOrd="0" destOrd="0" presId="urn:microsoft.com/office/officeart/2005/8/layout/orgChart1"/>
    <dgm:cxn modelId="{A693C328-F81A-4DBD-A8CF-AD9785CABC8D}" srcId="{BDC5F6A9-EED0-4BBA-A953-80B17F5BCBF6}" destId="{38884569-228D-4A88-BABF-F9DB813AA82B}" srcOrd="5" destOrd="0" parTransId="{10E9759F-34FE-48E5-81B1-0D0632F36026}" sibTransId="{0DA5BBA1-47C3-4A04-8857-EA2E8DABAA14}"/>
    <dgm:cxn modelId="{2B63CD28-8400-483C-9EE3-030285A528D5}" type="presOf" srcId="{38884569-228D-4A88-BABF-F9DB813AA82B}" destId="{3F307544-21A5-4422-A5D1-74880ECCFCCD}" srcOrd="0" destOrd="0" presId="urn:microsoft.com/office/officeart/2005/8/layout/orgChart1"/>
    <dgm:cxn modelId="{290BD828-5893-4B28-9026-65B1403824EA}" type="presOf" srcId="{F33A5EE2-A2CF-484E-8A7B-911A150884B2}" destId="{F52A4416-A355-4496-A0B1-4CBF01986EC7}" srcOrd="1" destOrd="0" presId="urn:microsoft.com/office/officeart/2005/8/layout/orgChart1"/>
    <dgm:cxn modelId="{6FCE762B-424E-47E0-A41A-8532FF6393C1}" type="presOf" srcId="{958ADE94-E987-4249-84BC-8DBBAE879A52}" destId="{CE729008-099D-4A08-A102-E60D944FC48F}" srcOrd="0" destOrd="0" presId="urn:microsoft.com/office/officeart/2005/8/layout/orgChart1"/>
    <dgm:cxn modelId="{963B902B-BA6F-4F02-AAD0-955BE32ECAB6}" type="presOf" srcId="{6DFA1C72-2888-4EAB-9E69-3B8A8588105A}" destId="{1160403C-2486-4FA7-93BF-C43A325034DE}" srcOrd="0" destOrd="0" presId="urn:microsoft.com/office/officeart/2005/8/layout/orgChart1"/>
    <dgm:cxn modelId="{EB60A62C-348B-4F18-BCCE-197E0DBEA612}" type="presOf" srcId="{086D07B9-C0F3-4710-9F3E-98A91CB5AB59}" destId="{348BAFE5-7668-45FB-B549-E51156B62F13}" srcOrd="0" destOrd="0" presId="urn:microsoft.com/office/officeart/2005/8/layout/orgChart1"/>
    <dgm:cxn modelId="{DC72A22E-D7EB-4282-8228-94C55AD0C97C}" type="presOf" srcId="{B9C4C665-1F09-4978-805F-7F4AB198114A}" destId="{B3E31A91-F33C-4639-BCEB-413A151701C6}" srcOrd="0" destOrd="0" presId="urn:microsoft.com/office/officeart/2005/8/layout/orgChart1"/>
    <dgm:cxn modelId="{D533D12E-0D15-471F-A14B-9D38155F19E6}" type="presOf" srcId="{3F8228D7-AF64-4215-8956-E18BB0A1ED8D}" destId="{FBA8A821-8087-42F7-9157-793FE3A8F3D0}" srcOrd="0" destOrd="0" presId="urn:microsoft.com/office/officeart/2005/8/layout/orgChart1"/>
    <dgm:cxn modelId="{56420C2F-EFE2-4447-A6AD-F55205BDD59B}" type="presOf" srcId="{D695EA72-92B6-43CD-B117-542575ED7141}" destId="{B830D946-12F4-46DA-B377-60323B20C5B0}" srcOrd="0" destOrd="0" presId="urn:microsoft.com/office/officeart/2005/8/layout/orgChart1"/>
    <dgm:cxn modelId="{787E542F-B455-4EA5-AAC0-64CC20637244}" type="presOf" srcId="{8A6B88B7-1EF7-4EA3-A5FC-14EC10D105FD}" destId="{1013006C-A77A-45D7-9036-2AEAF4563F99}" srcOrd="0" destOrd="0" presId="urn:microsoft.com/office/officeart/2005/8/layout/orgChart1"/>
    <dgm:cxn modelId="{B24A6E30-D4F9-4B03-AD74-5FFA2AE950D8}" type="presOf" srcId="{7440AF21-5B40-4166-942C-627521F685B7}" destId="{7BCD82EB-3CCE-41F0-A332-389CAD5C7562}" srcOrd="0" destOrd="0" presId="urn:microsoft.com/office/officeart/2005/8/layout/orgChart1"/>
    <dgm:cxn modelId="{75E2B830-2967-4496-B033-93F76139E0D5}" type="presOf" srcId="{60809221-6C97-4C47-A15A-6AC9F6D2F20E}" destId="{12A8D5DD-32A8-4748-9250-132C912FE24E}" srcOrd="0" destOrd="0" presId="urn:microsoft.com/office/officeart/2005/8/layout/orgChart1"/>
    <dgm:cxn modelId="{CD773033-1796-46D8-AB8A-A5B170FD5C06}" type="presOf" srcId="{0B438000-D3C7-4CEB-B5EF-3EAFCA0A785D}" destId="{69D88AA3-307B-49BF-9ED7-708B8C390CE0}" srcOrd="1" destOrd="0" presId="urn:microsoft.com/office/officeart/2005/8/layout/orgChart1"/>
    <dgm:cxn modelId="{A4F69839-D1BC-4FAA-99BD-5146FDB13AEF}" srcId="{E4B4F9F4-D240-4EF9-8A3E-0060574F32FE}" destId="{580288E2-D4F3-4D26-8811-32AB05B4C204}" srcOrd="1" destOrd="0" parTransId="{A04B93DC-41B9-4200-9944-57D8F0923B75}" sibTransId="{101F4446-8515-4797-BB3F-D22C6291FB38}"/>
    <dgm:cxn modelId="{523ADA3A-9854-4FAB-92C0-C82ED8BB3BE6}" type="presOf" srcId="{8BDB2EBE-F5DA-47E0-90BC-78366CE7ABA7}" destId="{ADA6D691-513F-4B68-BA69-C2FE3DF7CFCA}" srcOrd="0" destOrd="0" presId="urn:microsoft.com/office/officeart/2005/8/layout/orgChart1"/>
    <dgm:cxn modelId="{9FE2073C-FADC-498D-99C2-8A4BF9628357}" type="presOf" srcId="{98685474-342B-4776-925B-4D5684551333}" destId="{997E4C9A-B4F3-4755-8B1F-D7881B3DF5B8}" srcOrd="0" destOrd="0" presId="urn:microsoft.com/office/officeart/2005/8/layout/orgChart1"/>
    <dgm:cxn modelId="{11A1953D-EC6D-41DC-9C7F-CFF3EF71A401}" srcId="{D220A13B-8F1E-468F-82C7-70F47B586B66}" destId="{7083A081-C47B-4C38-B0D7-7757D8FF67B8}" srcOrd="1" destOrd="0" parTransId="{3F8228D7-AF64-4215-8956-E18BB0A1ED8D}" sibTransId="{59DD2DF4-55AC-46F2-90C4-D2CFB21BFFA2}"/>
    <dgm:cxn modelId="{9907F63F-2D0E-49BA-AF99-ECD91167A4E6}" srcId="{BDC5F6A9-EED0-4BBA-A953-80B17F5BCBF6}" destId="{AE4AEB44-270D-4A4A-986A-D0C7568AB1FF}" srcOrd="1" destOrd="0" parTransId="{CC5A209D-1098-4CF6-9C19-CDBB138D5A53}" sibTransId="{E0121813-ECA7-4956-955D-CB5080D47BD4}"/>
    <dgm:cxn modelId="{9E9AA05F-1AE7-427C-9081-FB058A3450EF}" srcId="{E4B4F9F4-D240-4EF9-8A3E-0060574F32FE}" destId="{0929002E-3CFB-46F1-9DED-701E6BDDBBE5}" srcOrd="2" destOrd="0" parTransId="{AD8E2242-6023-4FA1-A34B-BE65322F502E}" sibTransId="{0D4F85F6-A19F-4209-A6A7-43F65AB97D31}"/>
    <dgm:cxn modelId="{F3783360-D2C4-4E09-B79F-CCA3E3C167EB}" srcId="{4B2DA0F2-A21E-458A-AF50-29E1F87D63B3}" destId="{BA9ED9C7-5A5A-44C1-BC82-A7CC83DDFA57}" srcOrd="4" destOrd="0" parTransId="{2818271B-C815-44FF-B7CA-520F2C7F9DBE}" sibTransId="{1087897B-A7DE-4BA8-85C2-880BB290F12E}"/>
    <dgm:cxn modelId="{CAF18641-7332-46DE-A6F3-59D3B3D76A98}" type="presOf" srcId="{02097B8B-4AD9-4CB7-BB3C-5DF9BFA3737C}" destId="{BC1F8B47-7DB9-4D6B-AED7-0FAFB8248B55}" srcOrd="0" destOrd="0" presId="urn:microsoft.com/office/officeart/2005/8/layout/orgChart1"/>
    <dgm:cxn modelId="{42331063-BF6E-4871-A6D2-2EA723BD200C}" type="presOf" srcId="{0929002E-3CFB-46F1-9DED-701E6BDDBBE5}" destId="{7FA4785A-9BE3-4235-84C0-F5825401861A}" srcOrd="1" destOrd="0" presId="urn:microsoft.com/office/officeart/2005/8/layout/orgChart1"/>
    <dgm:cxn modelId="{3DF5A245-8FD8-4A50-9A68-F3157379CF96}" type="presOf" srcId="{DBD020BB-C8E4-41BE-831B-07DBAD3A3341}" destId="{A6EE5B7D-AEC4-4D0C-BB18-EF38571CF502}" srcOrd="1" destOrd="0" presId="urn:microsoft.com/office/officeart/2005/8/layout/orgChart1"/>
    <dgm:cxn modelId="{08507046-CE55-465B-8E58-E17601D970D8}" srcId="{BDC5F6A9-EED0-4BBA-A953-80B17F5BCBF6}" destId="{B9C4C665-1F09-4978-805F-7F4AB198114A}" srcOrd="3" destOrd="0" parTransId="{1A8A9C50-863B-4B42-A67C-6E56A8BED035}" sibTransId="{849C8801-D575-4E9F-A6CE-1E0B345D788F}"/>
    <dgm:cxn modelId="{B5F55746-BC38-4A90-AA38-0A4B58A4D238}" type="presOf" srcId="{0585FDDD-342A-46A7-AAB0-0788607E601B}" destId="{093D9EE4-902B-42B1-903F-9D17AEAE5754}" srcOrd="0" destOrd="0" presId="urn:microsoft.com/office/officeart/2005/8/layout/orgChart1"/>
    <dgm:cxn modelId="{29437C46-70C2-453D-BD9B-BE588778DFDA}" type="presOf" srcId="{DBDF2E7B-215A-4B79-8F34-A839D73F2DE2}" destId="{4BF69E96-A327-470A-91D0-B9D87C73E236}" srcOrd="0" destOrd="0" presId="urn:microsoft.com/office/officeart/2005/8/layout/orgChart1"/>
    <dgm:cxn modelId="{0546C747-6BC3-40AF-B2A3-D7C83A0FBE80}" srcId="{E4B4F9F4-D240-4EF9-8A3E-0060574F32FE}" destId="{33918B2B-A56B-49E5-A99E-FB8B8DD62018}" srcOrd="4" destOrd="0" parTransId="{771A4284-DC55-4997-B76F-6C9FAAC618D2}" sibTransId="{14DCBC2E-A508-4B64-981D-DA191D2B4917}"/>
    <dgm:cxn modelId="{07861668-31FC-4FCD-A808-4FF1ADC79B81}" type="presOf" srcId="{80D1FEA4-87C8-4218-B656-9A60136A23AD}" destId="{6734EBF9-16B9-4F1E-84D5-B5803082FFC4}" srcOrd="1" destOrd="0" presId="urn:microsoft.com/office/officeart/2005/8/layout/orgChart1"/>
    <dgm:cxn modelId="{9A99FD49-DF66-4929-8319-849AFE02AE3E}" type="presOf" srcId="{A9F15122-3257-495B-B691-215C55F3FF61}" destId="{BC4DC5FE-2499-493E-A1F0-4610A1A6673E}" srcOrd="1" destOrd="0" presId="urn:microsoft.com/office/officeart/2005/8/layout/orgChart1"/>
    <dgm:cxn modelId="{F3AFBD4B-A7C8-42B5-90A8-58B867BF0EDE}" type="presOf" srcId="{11CE7ABE-2790-4A35-A3D6-12349D777A2F}" destId="{E0B300C3-0D19-4DE7-98D1-D04851A9878A}" srcOrd="0" destOrd="0" presId="urn:microsoft.com/office/officeart/2005/8/layout/orgChart1"/>
    <dgm:cxn modelId="{62192F4C-11D6-4581-ADDD-4B1C86AC386B}" srcId="{38884569-228D-4A88-BABF-F9DB813AA82B}" destId="{FBEECE16-82BA-40C4-8609-4D3B8D357D9A}" srcOrd="0" destOrd="0" parTransId="{6036ACEB-96A5-4659-A2C1-61C304103038}" sibTransId="{7115F84B-3DD1-470A-A409-D5E62C28DA16}"/>
    <dgm:cxn modelId="{B9AA436C-DA62-4E3E-81EC-B3AD2BF93D9E}" type="presOf" srcId="{FBEECE16-82BA-40C4-8609-4D3B8D357D9A}" destId="{9FEE204C-6393-4A1E-B1AC-2BC944D38C48}" srcOrd="1" destOrd="0" presId="urn:microsoft.com/office/officeart/2005/8/layout/orgChart1"/>
    <dgm:cxn modelId="{2DCE8E4C-1650-4E21-BF2F-B819C72A76C1}" srcId="{4B2DA0F2-A21E-458A-AF50-29E1F87D63B3}" destId="{0B438000-D3C7-4CEB-B5EF-3EAFCA0A785D}" srcOrd="2" destOrd="0" parTransId="{1839A269-8267-41A4-BDD9-F4B2E95DA32B}" sibTransId="{0213AB93-C772-4D06-B764-174CEABCD16E}"/>
    <dgm:cxn modelId="{FED8F36C-C934-4461-BB7B-1F3C215AA364}" type="presOf" srcId="{E4B4F9F4-D240-4EF9-8A3E-0060574F32FE}" destId="{E58EEF2C-ECD0-400C-98A2-66555E0AE16C}" srcOrd="1" destOrd="0" presId="urn:microsoft.com/office/officeart/2005/8/layout/orgChart1"/>
    <dgm:cxn modelId="{7F3A9E6E-0D76-4AB2-980D-3C42B196E683}" srcId="{B9C4C665-1F09-4978-805F-7F4AB198114A}" destId="{2E090F9B-4901-49B9-880E-63C84E71D859}" srcOrd="0" destOrd="0" parTransId="{60809221-6C97-4C47-A15A-6AC9F6D2F20E}" sibTransId="{6FE0B984-2319-41EB-9715-656932E61F76}"/>
    <dgm:cxn modelId="{81BEE171-6B37-4284-8AA5-879894933D1A}" type="presOf" srcId="{FBEECE16-82BA-40C4-8609-4D3B8D357D9A}" destId="{A4223829-5044-4B88-AC56-89DA2CFB0ED7}" srcOrd="0" destOrd="0" presId="urn:microsoft.com/office/officeart/2005/8/layout/orgChart1"/>
    <dgm:cxn modelId="{6FFABA72-BCD2-4945-9DB7-9D8ED2785681}" type="presOf" srcId="{BDC5F6A9-EED0-4BBA-A953-80B17F5BCBF6}" destId="{B2CF8861-D546-48BF-8605-A0B0689F336C}" srcOrd="1" destOrd="0" presId="urn:microsoft.com/office/officeart/2005/8/layout/orgChart1"/>
    <dgm:cxn modelId="{D3201474-CF3C-4C12-97A1-56D3CA150250}" type="presOf" srcId="{771A4284-DC55-4997-B76F-6C9FAAC618D2}" destId="{281E2125-ECD3-4E00-9CDA-024BDF2D0F09}" srcOrd="0" destOrd="0" presId="urn:microsoft.com/office/officeart/2005/8/layout/orgChart1"/>
    <dgm:cxn modelId="{2B1E2B74-9EF7-4D10-B42F-FC6BE4F02ACC}" type="presOf" srcId="{BB11D739-415C-4C5D-AB21-FE34A494BBF2}" destId="{FE38CAAC-AA54-4D84-A304-95922ABE977E}" srcOrd="0" destOrd="0" presId="urn:microsoft.com/office/officeart/2005/8/layout/orgChart1"/>
    <dgm:cxn modelId="{DA72F174-C6D0-47A1-9EB8-6AE89989D2A7}" type="presOf" srcId="{AD8E2242-6023-4FA1-A34B-BE65322F502E}" destId="{178FC150-73BF-416D-A381-BD9D7ED3027A}" srcOrd="0" destOrd="0" presId="urn:microsoft.com/office/officeart/2005/8/layout/orgChart1"/>
    <dgm:cxn modelId="{87BE8155-D3B3-4E48-AE98-BBD06A045B0F}" srcId="{7C456F81-39E8-4A49-BB92-6D9710B9C081}" destId="{BDC5F6A9-EED0-4BBA-A953-80B17F5BCBF6}" srcOrd="0" destOrd="0" parTransId="{4782F7E2-57BE-4540-80EC-6A607EC520E6}" sibTransId="{455E78A3-1736-4520-A79C-0E94B2CA6DE7}"/>
    <dgm:cxn modelId="{45728956-CE79-417D-AC3F-81DA48CFCF3E}" srcId="{AE4AEB44-270D-4A4A-986A-D0C7568AB1FF}" destId="{98685474-342B-4776-925B-4D5684551333}" srcOrd="3" destOrd="0" parTransId="{1C5B7485-BE1A-44CA-8B64-16EDA3A4FA5C}" sibTransId="{58ACF02C-C437-4EC2-A187-AFAD8EBFEE3C}"/>
    <dgm:cxn modelId="{06BFB177-1BE4-4246-80FB-B89D9FABFA1B}" type="presOf" srcId="{BCB523D8-A888-42BA-A806-A92D8845FA2D}" destId="{FF131D10-19AD-4154-B757-6C588F327FEB}" srcOrd="0" destOrd="0" presId="urn:microsoft.com/office/officeart/2005/8/layout/orgChart1"/>
    <dgm:cxn modelId="{7EE15658-1013-4BA2-B83E-D07055115659}" type="presOf" srcId="{33918B2B-A56B-49E5-A99E-FB8B8DD62018}" destId="{905B16D4-3FFF-410E-A309-FFF363771166}" srcOrd="1" destOrd="0" presId="urn:microsoft.com/office/officeart/2005/8/layout/orgChart1"/>
    <dgm:cxn modelId="{2488CC58-8D86-4EF3-8EB1-3518AB4EEC40}" type="presOf" srcId="{1839A269-8267-41A4-BDD9-F4B2E95DA32B}" destId="{FF548611-7A04-4D5C-AB90-6C10EAF7830B}" srcOrd="0" destOrd="0" presId="urn:microsoft.com/office/officeart/2005/8/layout/orgChart1"/>
    <dgm:cxn modelId="{FF19BB79-0013-46AC-8B74-6571D5A0ACA9}" type="presOf" srcId="{A524C86B-3F51-4E92-A95A-7645CCC02FD3}" destId="{D1C6AC2B-B0ED-424F-9FA2-D6D4C4A6A414}" srcOrd="0" destOrd="0" presId="urn:microsoft.com/office/officeart/2005/8/layout/orgChart1"/>
    <dgm:cxn modelId="{849CB07A-B305-47DF-A3E2-E6C571D7C758}" type="presOf" srcId="{27C15DD7-5348-4DAA-B4FF-B3764EC1B2A2}" destId="{9F5961DD-123F-47AB-AEFA-BDA8427B1161}" srcOrd="0" destOrd="0" presId="urn:microsoft.com/office/officeart/2005/8/layout/orgChart1"/>
    <dgm:cxn modelId="{4093047D-AC43-4041-B59A-274A03AF3376}" type="presOf" srcId="{436966C0-1DA5-462C-A792-C39AB9A2902C}" destId="{04855EF9-FF16-4EFE-927E-96BB0C8C3828}" srcOrd="0" destOrd="0" presId="urn:microsoft.com/office/officeart/2005/8/layout/orgChart1"/>
    <dgm:cxn modelId="{8890767D-E2D8-45FB-8E3D-F55C12BE00DF}" type="presOf" srcId="{0929002E-3CFB-46F1-9DED-701E6BDDBBE5}" destId="{8434FBF3-53CC-495E-BB1B-22FBDDBE30ED}" srcOrd="0" destOrd="0" presId="urn:microsoft.com/office/officeart/2005/8/layout/orgChart1"/>
    <dgm:cxn modelId="{235E907D-D9FB-4B38-83D2-2F12812BBA67}" type="presOf" srcId="{086D07B9-C0F3-4710-9F3E-98A91CB5AB59}" destId="{5F05EC08-B909-4490-A294-156241F773C4}" srcOrd="1" destOrd="0" presId="urn:microsoft.com/office/officeart/2005/8/layout/orgChart1"/>
    <dgm:cxn modelId="{D456D87E-32D5-45CB-A492-F284CDC20F36}" srcId="{B9C4C665-1F09-4978-805F-7F4AB198114A}" destId="{D695EA72-92B6-43CD-B117-542575ED7141}" srcOrd="1" destOrd="0" parTransId="{02097B8B-4AD9-4CB7-BB3C-5DF9BFA3737C}" sibTransId="{5C9178AC-BDC4-48BE-A594-B56AEBD0D7FA}"/>
    <dgm:cxn modelId="{EFDEB780-1591-491E-A7E2-B41675D9197E}" type="presOf" srcId="{D220A13B-8F1E-468F-82C7-70F47B586B66}" destId="{C211D1E2-A010-4A2B-86E8-0F02FDA687CB}" srcOrd="0" destOrd="0" presId="urn:microsoft.com/office/officeart/2005/8/layout/orgChart1"/>
    <dgm:cxn modelId="{C392BB84-B058-41E0-A9A4-85DEE9C4389E}" type="presOf" srcId="{6ED80765-13B6-474E-93E9-07AA1EE5D7DD}" destId="{42AB63E4-BFA0-4F80-919C-7AC9383B3E94}" srcOrd="0" destOrd="0" presId="urn:microsoft.com/office/officeart/2005/8/layout/orgChart1"/>
    <dgm:cxn modelId="{3BD70085-C956-4E0C-9FDB-7652DB18BA3E}" type="presOf" srcId="{CD9B72B4-5551-4360-B639-5D4178A91D70}" destId="{8EFCE613-0888-43C3-A88B-CA08106F9803}" srcOrd="0" destOrd="0" presId="urn:microsoft.com/office/officeart/2005/8/layout/orgChart1"/>
    <dgm:cxn modelId="{8DA80286-2B51-4724-A0C9-010A04086749}" type="presOf" srcId="{6DFA1C72-2888-4EAB-9E69-3B8A8588105A}" destId="{F4619476-179E-4A84-9AFD-3FA5F5AF1FF8}" srcOrd="1" destOrd="0" presId="urn:microsoft.com/office/officeart/2005/8/layout/orgChart1"/>
    <dgm:cxn modelId="{9447DC89-5764-4EFF-A725-24B1C8365941}" type="presOf" srcId="{ACD806BF-F1A9-459B-80ED-3E6C6DF22932}" destId="{CF77B62D-BE7F-4AD1-9F37-2149EAB399EE}" srcOrd="0" destOrd="0" presId="urn:microsoft.com/office/officeart/2005/8/layout/orgChart1"/>
    <dgm:cxn modelId="{2CDE4B8F-A7C8-46C2-89F5-770E704A1111}" srcId="{AE4AEB44-270D-4A4A-986A-D0C7568AB1FF}" destId="{CD9B72B4-5551-4360-B639-5D4178A91D70}" srcOrd="2" destOrd="0" parTransId="{DF961A74-B5F5-4B93-9FA9-DE5DA87D9BD2}" sibTransId="{E688171C-6AAA-44C2-B7ED-6D8EBAFA0E2E}"/>
    <dgm:cxn modelId="{6D92AD93-A140-4742-9C58-3BB47AB400A1}" srcId="{4B2DA0F2-A21E-458A-AF50-29E1F87D63B3}" destId="{2DCD2D6B-DE13-488D-AA4C-10B76C11A358}" srcOrd="1" destOrd="0" parTransId="{27C15DD7-5348-4DAA-B4FF-B3764EC1B2A2}" sibTransId="{2EA67487-A445-47C6-AA2A-1C191A6CEBF6}"/>
    <dgm:cxn modelId="{9683C793-4705-41B7-BDC8-A300448ED32A}" type="presOf" srcId="{CD9B72B4-5551-4360-B639-5D4178A91D70}" destId="{1F684BA0-1660-4D79-9FD9-76528EB8C18D}" srcOrd="1" destOrd="0" presId="urn:microsoft.com/office/officeart/2005/8/layout/orgChart1"/>
    <dgm:cxn modelId="{4C450197-C938-4E29-AD8C-7F582617307B}" type="presOf" srcId="{486C129E-19BA-42F5-AD85-4C9625721C2E}" destId="{4CACF079-4A9E-4E39-AC3E-B3B2254F3D5B}" srcOrd="1" destOrd="0" presId="urn:microsoft.com/office/officeart/2005/8/layout/orgChart1"/>
    <dgm:cxn modelId="{610A5A98-AA6E-4568-9622-9309D63BF518}" type="presOf" srcId="{14E30B54-BAA4-4BCC-8F7D-17189670DBE7}" destId="{AFD69B81-D44C-4733-BA0B-85C166472E4E}" srcOrd="1" destOrd="0" presId="urn:microsoft.com/office/officeart/2005/8/layout/orgChart1"/>
    <dgm:cxn modelId="{65D0679D-A4AA-4A40-AEA0-5D17D367C865}" type="presOf" srcId="{BB11D739-415C-4C5D-AB21-FE34A494BBF2}" destId="{9A7B6B05-6545-4EEC-98B4-A0D9718014D7}" srcOrd="1" destOrd="0" presId="urn:microsoft.com/office/officeart/2005/8/layout/orgChart1"/>
    <dgm:cxn modelId="{147DDC9D-106C-4AC6-A11C-94319DDF373F}" srcId="{B9C4C665-1F09-4978-805F-7F4AB198114A}" destId="{DBD020BB-C8E4-41BE-831B-07DBAD3A3341}" srcOrd="3" destOrd="0" parTransId="{6ED80765-13B6-474E-93E9-07AA1EE5D7DD}" sibTransId="{A59EA745-DE2D-4379-A10E-04EC84F78880}"/>
    <dgm:cxn modelId="{DF6C689F-0F88-4E36-934D-88A9054D2A20}" type="presOf" srcId="{7083A081-C47B-4C38-B0D7-7757D8FF67B8}" destId="{AE225D63-49C8-429E-A6B6-9BA31D3C5B29}" srcOrd="1" destOrd="0" presId="urn:microsoft.com/office/officeart/2005/8/layout/orgChart1"/>
    <dgm:cxn modelId="{0C133FA2-15C7-4F19-BBF8-603A9899603A}" type="presOf" srcId="{AE4AEB44-270D-4A4A-986A-D0C7568AB1FF}" destId="{174DBD7B-676F-40CB-A854-FFEAC812914A}" srcOrd="1" destOrd="0" presId="urn:microsoft.com/office/officeart/2005/8/layout/orgChart1"/>
    <dgm:cxn modelId="{EF4351A2-A13F-41A2-9860-159F04696D1C}" type="presOf" srcId="{6036ACEB-96A5-4659-A2C1-61C304103038}" destId="{4C781013-32CE-447C-AA08-DCEBB0A1DCF6}" srcOrd="0" destOrd="0" presId="urn:microsoft.com/office/officeart/2005/8/layout/orgChart1"/>
    <dgm:cxn modelId="{BEF4DBA6-AA7D-478E-AF24-BC953182BC7A}" type="presOf" srcId="{C66EEBF6-FECB-48CC-A1A7-E43C1E54BA0B}" destId="{F30B360D-8E56-41A6-A4EC-97B9C46F3B7F}" srcOrd="0" destOrd="0" presId="urn:microsoft.com/office/officeart/2005/8/layout/orgChart1"/>
    <dgm:cxn modelId="{9AAF34AB-F847-47F6-8EC9-663C5BC1F104}" type="presOf" srcId="{658C10FC-5D1D-43D7-803E-6A988F1EB739}" destId="{9F5E2FF3-9F9A-407A-802C-9A48D55E868E}" srcOrd="0" destOrd="0" presId="urn:microsoft.com/office/officeart/2005/8/layout/orgChart1"/>
    <dgm:cxn modelId="{D87A77AC-C6FB-4D62-BC60-E629744A8A98}" srcId="{AE4AEB44-270D-4A4A-986A-D0C7568AB1FF}" destId="{436966C0-1DA5-462C-A792-C39AB9A2902C}" srcOrd="0" destOrd="0" parTransId="{ED56C5B0-A8EF-4171-B1D5-E243FAD33B08}" sibTransId="{4AE02011-9435-49BE-B7F0-50EE2832CAF5}"/>
    <dgm:cxn modelId="{5451C6AC-1188-47D3-92F2-A946C5B61187}" type="presOf" srcId="{E6E7FACA-BFAB-4BDC-9E11-4A4A90C6A50B}" destId="{3DC2E87A-5A21-483C-BD3B-0DF66BF69BC8}" srcOrd="0" destOrd="0" presId="urn:microsoft.com/office/officeart/2005/8/layout/orgChart1"/>
    <dgm:cxn modelId="{62ED1EAE-ED97-4017-BCF0-27CDC46DF12E}" type="presOf" srcId="{0B438000-D3C7-4CEB-B5EF-3EAFCA0A785D}" destId="{3F4E5D73-5DC2-4BCC-A1A5-B6A6F7007855}" srcOrd="0" destOrd="0" presId="urn:microsoft.com/office/officeart/2005/8/layout/orgChart1"/>
    <dgm:cxn modelId="{FB63F8AE-7300-4E6B-9D32-A06BFEA6B47A}" type="presOf" srcId="{2DCD2D6B-DE13-488D-AA4C-10B76C11A358}" destId="{CCF3C26E-5C9B-4B63-B81D-205FA58DBB1E}" srcOrd="0" destOrd="0" presId="urn:microsoft.com/office/officeart/2005/8/layout/orgChart1"/>
    <dgm:cxn modelId="{FA827EAF-5148-4B46-BD12-420A1F7078DA}" srcId="{B9C4C665-1F09-4978-805F-7F4AB198114A}" destId="{6DFA1C72-2888-4EAB-9E69-3B8A8588105A}" srcOrd="4" destOrd="0" parTransId="{11CE7ABE-2790-4A35-A3D6-12349D777A2F}" sibTransId="{6A0FA9AF-8F43-4512-834D-F8F65732E39F}"/>
    <dgm:cxn modelId="{F3D1D8B1-8773-4931-8D9F-B33949E25608}" type="presOf" srcId="{14E30B54-BAA4-4BCC-8F7D-17189670DBE7}" destId="{E5FCAF91-3776-4CDC-ABCA-202708193120}" srcOrd="0" destOrd="0" presId="urn:microsoft.com/office/officeart/2005/8/layout/orgChart1"/>
    <dgm:cxn modelId="{FC963CB4-67DF-417D-8789-682C99BC2401}" type="presOf" srcId="{A9F15122-3257-495B-B691-215C55F3FF61}" destId="{74AE5827-C96B-441F-9BC9-B935166B288B}" srcOrd="0" destOrd="0" presId="urn:microsoft.com/office/officeart/2005/8/layout/orgChart1"/>
    <dgm:cxn modelId="{2F24D1B4-88A7-4A5E-A2B4-CF32A10F1B46}" type="presOf" srcId="{2E090F9B-4901-49B9-880E-63C84E71D859}" destId="{12A2836B-CA16-489E-97CC-34448E041DE7}" srcOrd="0" destOrd="0" presId="urn:microsoft.com/office/officeart/2005/8/layout/orgChart1"/>
    <dgm:cxn modelId="{AAE74EB7-0EFF-4C79-A694-8380E463CAA3}" type="presOf" srcId="{DF961A74-B5F5-4B93-9FA9-DE5DA87D9BD2}" destId="{79E8509D-D200-4AD2-9176-BA1C925FA3FE}" srcOrd="0" destOrd="0" presId="urn:microsoft.com/office/officeart/2005/8/layout/orgChart1"/>
    <dgm:cxn modelId="{97BDA9B7-BA81-449D-B23A-BA3486C10A62}" type="presOf" srcId="{C4DFA08D-1F8D-41AE-8ACE-B408E812044D}" destId="{2C5D9233-E922-480E-A546-C8C0865DBB32}" srcOrd="0" destOrd="0" presId="urn:microsoft.com/office/officeart/2005/8/layout/orgChart1"/>
    <dgm:cxn modelId="{856A66B9-5081-4D90-9B91-70C217FD3F1F}" type="presOf" srcId="{ED56C5B0-A8EF-4171-B1D5-E243FAD33B08}" destId="{8603216B-8D19-4F7D-B157-A8C9FEF99D65}" srcOrd="0" destOrd="0" presId="urn:microsoft.com/office/officeart/2005/8/layout/orgChart1"/>
    <dgm:cxn modelId="{A1FFFAB9-9778-4C28-BD47-CA8CACC97EB3}" type="presOf" srcId="{436966C0-1DA5-462C-A792-C39AB9A2902C}" destId="{5DFBA267-DF77-4DE3-A8C4-1B09CE8BF4DF}" srcOrd="1" destOrd="0" presId="urn:microsoft.com/office/officeart/2005/8/layout/orgChart1"/>
    <dgm:cxn modelId="{033B81BA-C9AA-4670-B3C7-7AC6125597D2}" type="presOf" srcId="{DBD020BB-C8E4-41BE-831B-07DBAD3A3341}" destId="{D568A7A6-C940-4BF6-B5F1-425EC48869A3}" srcOrd="0" destOrd="0" presId="urn:microsoft.com/office/officeart/2005/8/layout/orgChart1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B0E41FBC-834B-4CCA-87DE-190C6843CB89}" type="presOf" srcId="{580288E2-D4F3-4D26-8811-32AB05B4C204}" destId="{618E46EE-25E1-4888-AE7C-3C3332369B84}" srcOrd="0" destOrd="0" presId="urn:microsoft.com/office/officeart/2005/8/layout/orgChart1"/>
    <dgm:cxn modelId="{BB1620BD-C711-47CF-B590-0D79092E49CE}" type="presOf" srcId="{D695EA72-92B6-43CD-B117-542575ED7141}" destId="{63A8026E-78F0-4851-B533-E4973DBE23DA}" srcOrd="1" destOrd="0" presId="urn:microsoft.com/office/officeart/2005/8/layout/orgChart1"/>
    <dgm:cxn modelId="{EA01F1BE-F7A3-412C-9F55-B39BC855A8B3}" srcId="{BDC5F6A9-EED0-4BBA-A953-80B17F5BCBF6}" destId="{E4B4F9F4-D240-4EF9-8A3E-0060574F32FE}" srcOrd="0" destOrd="0" parTransId="{686EE54E-2CC1-4ABF-B221-047AC1ECAA71}" sibTransId="{EC5EB5C7-F1A2-4FE5-A33B-B7B5FE53412C}"/>
    <dgm:cxn modelId="{1F3CC0C0-CCAD-4204-B060-154D650918D8}" srcId="{AE4AEB44-270D-4A4A-986A-D0C7568AB1FF}" destId="{BCB523D8-A888-42BA-A806-A92D8845FA2D}" srcOrd="4" destOrd="0" parTransId="{8BDB2EBE-F5DA-47E0-90BC-78366CE7ABA7}" sibTransId="{2BBC525F-8ED7-48F9-A53C-D7E8F98C0FDD}"/>
    <dgm:cxn modelId="{9A1012C1-83A1-4516-8331-0468D3AD9949}" type="presOf" srcId="{10E9759F-34FE-48E5-81B1-0D0632F36026}" destId="{7811039B-9E53-4960-8749-6B2E2D304B8E}" srcOrd="0" destOrd="0" presId="urn:microsoft.com/office/officeart/2005/8/layout/orgChart1"/>
    <dgm:cxn modelId="{CC65CCC1-91AD-4A16-9967-E63229E88758}" type="presOf" srcId="{4B2DA0F2-A21E-458A-AF50-29E1F87D63B3}" destId="{906BAC9A-7793-4C85-8BC3-578BC4BFAA78}" srcOrd="1" destOrd="0" presId="urn:microsoft.com/office/officeart/2005/8/layout/orgChart1"/>
    <dgm:cxn modelId="{60BBEFC5-265D-4D58-9494-87CC4D24DA3D}" type="presOf" srcId="{AE4AEB44-270D-4A4A-986A-D0C7568AB1FF}" destId="{0E214E11-E023-42F0-949E-D4B5EE6BF00B}" srcOrd="0" destOrd="0" presId="urn:microsoft.com/office/officeart/2005/8/layout/orgChart1"/>
    <dgm:cxn modelId="{A9FC95C7-23E9-4DC1-9A63-F3F48ECCD07C}" type="presOf" srcId="{43BDB3D2-DFB7-40C0-8C47-9797BCBFAED1}" destId="{78976918-A4A3-4035-8D81-D56813684814}" srcOrd="0" destOrd="0" presId="urn:microsoft.com/office/officeart/2005/8/layout/orgChart1"/>
    <dgm:cxn modelId="{AFFC99C7-FE06-4383-A1B9-58092F2D4798}" type="presOf" srcId="{1A8A9C50-863B-4B42-A67C-6E56A8BED035}" destId="{C2EFA9A1-6CA6-4941-8A47-8DE384814D70}" srcOrd="0" destOrd="0" presId="urn:microsoft.com/office/officeart/2005/8/layout/orgChart1"/>
    <dgm:cxn modelId="{1CE9A2CC-D636-401A-BFBA-EA27C81D62E2}" type="presOf" srcId="{BE687275-8397-4EF9-B6E2-1BF3E4C48420}" destId="{B1BC0300-8519-43F8-9033-1E4D4898C3BD}" srcOrd="0" destOrd="0" presId="urn:microsoft.com/office/officeart/2005/8/layout/orgChart1"/>
    <dgm:cxn modelId="{281324CE-6C55-434F-965E-D3615011D301}" type="presOf" srcId="{2818271B-C815-44FF-B7CA-520F2C7F9DBE}" destId="{91AA311D-0247-49B6-AA05-F9026F6D91DB}" srcOrd="0" destOrd="0" presId="urn:microsoft.com/office/officeart/2005/8/layout/orgChart1"/>
    <dgm:cxn modelId="{6CBD60D0-3044-46B4-AA18-1066DD8B8977}" srcId="{D220A13B-8F1E-468F-82C7-70F47B586B66}" destId="{B70C7CDC-63CB-445B-AEC4-C1501F7BA860}" srcOrd="2" destOrd="0" parTransId="{D1690AB5-434E-40B7-B982-9499266749A4}" sibTransId="{32784896-1064-4CE6-8031-C2B84CDADA74}"/>
    <dgm:cxn modelId="{06703FD2-6D87-4D9C-AC31-0CBB9300B24E}" type="presOf" srcId="{7C456F81-39E8-4A49-BB92-6D9710B9C081}" destId="{B04A4DB1-8A65-405D-A9FF-F09FD21D735D}" srcOrd="0" destOrd="0" presId="urn:microsoft.com/office/officeart/2005/8/layout/orgChart1"/>
    <dgm:cxn modelId="{FF9EF8D3-FBF0-4012-8915-3B1A6E9B2919}" type="presOf" srcId="{BA9ED9C7-5A5A-44C1-BC82-A7CC83DDFA57}" destId="{BC934FE5-F520-44B9-98D6-4A2AF84EC165}" srcOrd="0" destOrd="0" presId="urn:microsoft.com/office/officeart/2005/8/layout/orgChart1"/>
    <dgm:cxn modelId="{8A5705DA-3E51-496B-BFFF-6292DC74A585}" type="presOf" srcId="{B9C4C665-1F09-4978-805F-7F4AB198114A}" destId="{B9DF87EC-68ED-4CC6-A058-18BDC7942E84}" srcOrd="1" destOrd="0" presId="urn:microsoft.com/office/officeart/2005/8/layout/orgChart1"/>
    <dgm:cxn modelId="{CCB316DA-03F1-4CC3-A0E7-B03C87AE9B70}" srcId="{D220A13B-8F1E-468F-82C7-70F47B586B66}" destId="{F33A5EE2-A2CF-484E-8A7B-911A150884B2}" srcOrd="4" destOrd="0" parTransId="{958ADE94-E987-4249-84BC-8DBBAE879A52}" sibTransId="{2191C938-E6F6-43BC-9B1E-B7BBCB382994}"/>
    <dgm:cxn modelId="{0E4F96DE-D09C-4EC4-8B90-C4C5FAC82807}" srcId="{E4B4F9F4-D240-4EF9-8A3E-0060574F32FE}" destId="{A0D1D621-DA49-4B24-9D22-997E3493B32D}" srcOrd="3" destOrd="0" parTransId="{E3ECB5E8-A935-4CFC-8698-EA5FF877B4E3}" sibTransId="{EAEA91CA-D5DB-4CEF-B363-98AB51DD8415}"/>
    <dgm:cxn modelId="{18B1AFE0-C90D-4B2D-8B30-283779AC8832}" srcId="{D220A13B-8F1E-468F-82C7-70F47B586B66}" destId="{14E30B54-BAA4-4BCC-8F7D-17189670DBE7}" srcOrd="3" destOrd="0" parTransId="{43BDB3D2-DFB7-40C0-8C47-9797BCBFAED1}" sibTransId="{8E41CF65-EF38-4CCE-9800-4236B3371C64}"/>
    <dgm:cxn modelId="{23EB1DE2-3147-4C37-BC93-2E4DF2E22F48}" srcId="{38884569-228D-4A88-BABF-F9DB813AA82B}" destId="{BB11D739-415C-4C5D-AB21-FE34A494BBF2}" srcOrd="1" destOrd="0" parTransId="{8A6B88B7-1EF7-4EA3-A5FC-14EC10D105FD}" sibTransId="{65496EF2-6BB4-4412-BE59-B77ED3511EB2}"/>
    <dgm:cxn modelId="{CCEB5BE3-0940-4A60-B992-0E193AF92099}" type="presOf" srcId="{80D1FEA4-87C8-4218-B656-9A60136A23AD}" destId="{3B93419F-0BBF-4DE2-A032-BD9C95389D13}" srcOrd="0" destOrd="0" presId="urn:microsoft.com/office/officeart/2005/8/layout/orgChart1"/>
    <dgm:cxn modelId="{1AC394E3-702A-4AFE-94F3-70D9F5A3A352}" type="presOf" srcId="{580288E2-D4F3-4D26-8811-32AB05B4C204}" destId="{47F87399-131C-4898-B6F1-0C4762A34AE4}" srcOrd="1" destOrd="0" presId="urn:microsoft.com/office/officeart/2005/8/layout/orgChart1"/>
    <dgm:cxn modelId="{1669F7E3-E47D-4A86-8E4F-975B829ADD62}" type="presOf" srcId="{BDC5F6A9-EED0-4BBA-A953-80B17F5BCBF6}" destId="{066E8638-6B43-4626-B2BC-6439D5CB6903}" srcOrd="0" destOrd="0" presId="urn:microsoft.com/office/officeart/2005/8/layout/orgChart1"/>
    <dgm:cxn modelId="{8BF91AE4-08C1-4317-8DE1-B63F14370221}" srcId="{4B2DA0F2-A21E-458A-AF50-29E1F87D63B3}" destId="{A9F15122-3257-495B-B691-215C55F3FF61}" srcOrd="3" destOrd="0" parTransId="{0585FDDD-342A-46A7-AAB0-0788607E601B}" sibTransId="{627DACC6-0DF8-4927-A667-E4B4170FD346}"/>
    <dgm:cxn modelId="{0BC682E5-81E1-47A0-B29E-72F4865EA781}" type="presOf" srcId="{4B2DA0F2-A21E-458A-AF50-29E1F87D63B3}" destId="{D18BF322-C5F5-400E-96A5-15D71C5A8534}" srcOrd="0" destOrd="0" presId="urn:microsoft.com/office/officeart/2005/8/layout/orgChart1"/>
    <dgm:cxn modelId="{4813C4E5-5A8D-4596-B95A-193B5C40924B}" type="presOf" srcId="{B70C7CDC-63CB-445B-AEC4-C1501F7BA860}" destId="{6B42DEF9-FC5F-4118-9FC3-A3EA6BAB91D5}" srcOrd="1" destOrd="0" presId="urn:microsoft.com/office/officeart/2005/8/layout/orgChart1"/>
    <dgm:cxn modelId="{91D6C1EC-65BA-4E6F-AFCD-1EABE7C3C5E2}" type="presOf" srcId="{658C10FC-5D1D-43D7-803E-6A988F1EB739}" destId="{C87183BA-F538-42AC-836E-116AB670C785}" srcOrd="1" destOrd="0" presId="urn:microsoft.com/office/officeart/2005/8/layout/orgChart1"/>
    <dgm:cxn modelId="{B3F6E3ED-05B1-4841-9943-7DD9E7B3F086}" type="presOf" srcId="{BA9ED9C7-5A5A-44C1-BC82-A7CC83DDFA57}" destId="{EBDC3C4F-D88E-4114-8783-3CDC82B9BA4F}" srcOrd="1" destOrd="0" presId="urn:microsoft.com/office/officeart/2005/8/layout/orgChart1"/>
    <dgm:cxn modelId="{E643E3EE-4A32-4793-BEAE-6DB4A42E56DB}" srcId="{BDC5F6A9-EED0-4BBA-A953-80B17F5BCBF6}" destId="{D220A13B-8F1E-468F-82C7-70F47B586B66}" srcOrd="2" destOrd="0" parTransId="{C4DFA08D-1F8D-41AE-8ACE-B408E812044D}" sibTransId="{C464D18D-2861-41A3-949C-1FC6F18E3B02}"/>
    <dgm:cxn modelId="{BCFEBCEF-8AD9-4AB3-A873-DBF154D7EF6A}" type="presOf" srcId="{F33A5EE2-A2CF-484E-8A7B-911A150884B2}" destId="{C091B7E7-2F31-4DB8-990E-E618A35CC32F}" srcOrd="0" destOrd="0" presId="urn:microsoft.com/office/officeart/2005/8/layout/orgChart1"/>
    <dgm:cxn modelId="{16D728F2-FF00-46CA-BE5B-32FE5B8F4481}" type="presOf" srcId="{E3ECB5E8-A935-4CFC-8698-EA5FF877B4E3}" destId="{B350BE60-2BDA-4374-84D9-4687DCDD2EBC}" srcOrd="0" destOrd="0" presId="urn:microsoft.com/office/officeart/2005/8/layout/orgChart1"/>
    <dgm:cxn modelId="{140DA8F2-CAFB-4217-A615-612B2618FB54}" type="presOf" srcId="{1C5B7485-BE1A-44CA-8B64-16EDA3A4FA5C}" destId="{4F9CEBCB-3E07-4D52-B4A4-6B8EBED17822}" srcOrd="0" destOrd="0" presId="urn:microsoft.com/office/officeart/2005/8/layout/orgChart1"/>
    <dgm:cxn modelId="{90F042F4-59C9-42EA-846C-E33CA95352AD}" type="presOf" srcId="{A04B93DC-41B9-4200-9944-57D8F0923B75}" destId="{B418CFC6-EEC4-43C6-8E52-74048ADBECAB}" srcOrd="0" destOrd="0" presId="urn:microsoft.com/office/officeart/2005/8/layout/orgChart1"/>
    <dgm:cxn modelId="{92B2E5F5-3F2F-460D-B27F-74B7B0E50519}" type="presOf" srcId="{A0D1D621-DA49-4B24-9D22-997E3493B32D}" destId="{5E43865A-26D4-4823-9FD0-71E29AC536E8}" srcOrd="1" destOrd="0" presId="urn:microsoft.com/office/officeart/2005/8/layout/orgChart1"/>
    <dgm:cxn modelId="{B12EE2FB-6B16-4357-A334-291C17AFD9BD}" srcId="{D220A13B-8F1E-468F-82C7-70F47B586B66}" destId="{ACD806BF-F1A9-459B-80ED-3E6C6DF22932}" srcOrd="0" destOrd="0" parTransId="{7440AF21-5B40-4166-942C-627521F685B7}" sibTransId="{7DD94B2C-619E-4562-BF10-329D0019BB8C}"/>
    <dgm:cxn modelId="{532523FD-5B10-4B69-A4DB-CD3994B8A857}" type="presOf" srcId="{B70C7CDC-63CB-445B-AEC4-C1501F7BA860}" destId="{0ED1EE40-EC7B-41B3-BEC5-1AACA348A4BE}" srcOrd="0" destOrd="0" presId="urn:microsoft.com/office/officeart/2005/8/layout/orgChart1"/>
    <dgm:cxn modelId="{6E4BF8FE-5844-4C0F-8FEA-07D23CAB381D}" type="presOf" srcId="{E4B4F9F4-D240-4EF9-8A3E-0060574F32FE}" destId="{C0FF33DF-CA61-43D8-9567-8947149FFC4D}" srcOrd="0" destOrd="0" presId="urn:microsoft.com/office/officeart/2005/8/layout/orgChart1"/>
    <dgm:cxn modelId="{E1436398-BB47-4664-A24D-84F7F3E30FDA}" type="presParOf" srcId="{B04A4DB1-8A65-405D-A9FF-F09FD21D735D}" destId="{361B81A5-9CA1-4DBD-9B47-64E00DB700FB}" srcOrd="0" destOrd="0" presId="urn:microsoft.com/office/officeart/2005/8/layout/orgChart1"/>
    <dgm:cxn modelId="{B1CF0B4D-6BB7-4571-A5A1-21C23CE2E309}" type="presParOf" srcId="{361B81A5-9CA1-4DBD-9B47-64E00DB700FB}" destId="{C5BEE213-8E9E-461D-87E2-99E5F4CA3D93}" srcOrd="0" destOrd="0" presId="urn:microsoft.com/office/officeart/2005/8/layout/orgChart1"/>
    <dgm:cxn modelId="{04B76255-5DF7-40DC-899C-63F6E0DA0FC7}" type="presParOf" srcId="{C5BEE213-8E9E-461D-87E2-99E5F4CA3D93}" destId="{066E8638-6B43-4626-B2BC-6439D5CB6903}" srcOrd="0" destOrd="0" presId="urn:microsoft.com/office/officeart/2005/8/layout/orgChart1"/>
    <dgm:cxn modelId="{23EC55AB-BBBD-409A-8B43-BBB653E27A45}" type="presParOf" srcId="{C5BEE213-8E9E-461D-87E2-99E5F4CA3D93}" destId="{B2CF8861-D546-48BF-8605-A0B0689F336C}" srcOrd="1" destOrd="0" presId="urn:microsoft.com/office/officeart/2005/8/layout/orgChart1"/>
    <dgm:cxn modelId="{387738FC-40CB-4127-9529-88AC9DBEB715}" type="presParOf" srcId="{361B81A5-9CA1-4DBD-9B47-64E00DB700FB}" destId="{4552F86E-171D-4D57-BF2B-065C2DC6E063}" srcOrd="1" destOrd="0" presId="urn:microsoft.com/office/officeart/2005/8/layout/orgChart1"/>
    <dgm:cxn modelId="{401D92AA-D008-4930-8E57-7F498EE29CAA}" type="presParOf" srcId="{4552F86E-171D-4D57-BF2B-065C2DC6E063}" destId="{E4707A64-0BF8-4865-8496-3A37C893985E}" srcOrd="0" destOrd="0" presId="urn:microsoft.com/office/officeart/2005/8/layout/orgChart1"/>
    <dgm:cxn modelId="{0177F7B1-0E96-4BBD-96EB-4B376A40DF5D}" type="presParOf" srcId="{4552F86E-171D-4D57-BF2B-065C2DC6E063}" destId="{D10E7A93-7D18-48F8-BE3A-761931A00B39}" srcOrd="1" destOrd="0" presId="urn:microsoft.com/office/officeart/2005/8/layout/orgChart1"/>
    <dgm:cxn modelId="{585B62FB-E9AC-4689-BB19-5CE1987C4FC5}" type="presParOf" srcId="{D10E7A93-7D18-48F8-BE3A-761931A00B39}" destId="{C1D3207F-CD32-4B7F-8924-6C080651588E}" srcOrd="0" destOrd="0" presId="urn:microsoft.com/office/officeart/2005/8/layout/orgChart1"/>
    <dgm:cxn modelId="{EB3EC180-C5F2-4ADF-9B5B-EF141C4AE557}" type="presParOf" srcId="{C1D3207F-CD32-4B7F-8924-6C080651588E}" destId="{C0FF33DF-CA61-43D8-9567-8947149FFC4D}" srcOrd="0" destOrd="0" presId="urn:microsoft.com/office/officeart/2005/8/layout/orgChart1"/>
    <dgm:cxn modelId="{585A0F36-E7E8-4298-9818-69FC12043466}" type="presParOf" srcId="{C1D3207F-CD32-4B7F-8924-6C080651588E}" destId="{E58EEF2C-ECD0-400C-98A2-66555E0AE16C}" srcOrd="1" destOrd="0" presId="urn:microsoft.com/office/officeart/2005/8/layout/orgChart1"/>
    <dgm:cxn modelId="{519BD67E-19CF-48AD-97EE-8E60F13AE78C}" type="presParOf" srcId="{D10E7A93-7D18-48F8-BE3A-761931A00B39}" destId="{E5F10C7B-88F2-4979-B2F9-253C6A93E146}" srcOrd="1" destOrd="0" presId="urn:microsoft.com/office/officeart/2005/8/layout/orgChart1"/>
    <dgm:cxn modelId="{7E1F0E0A-7DAB-4285-8DC7-568E3A1633D5}" type="presParOf" srcId="{E5F10C7B-88F2-4979-B2F9-253C6A93E146}" destId="{4BF69E96-A327-470A-91D0-B9D87C73E236}" srcOrd="0" destOrd="0" presId="urn:microsoft.com/office/officeart/2005/8/layout/orgChart1"/>
    <dgm:cxn modelId="{6506E462-8B94-48B4-8171-C46B75896C8D}" type="presParOf" srcId="{E5F10C7B-88F2-4979-B2F9-253C6A93E146}" destId="{976C7FA3-97C3-4A7E-88B2-F4979C90C7F8}" srcOrd="1" destOrd="0" presId="urn:microsoft.com/office/officeart/2005/8/layout/orgChart1"/>
    <dgm:cxn modelId="{BE2B6AF1-485A-4172-9C88-7395550C27AF}" type="presParOf" srcId="{976C7FA3-97C3-4A7E-88B2-F4979C90C7F8}" destId="{262B163F-B9FE-4F1D-86AE-26DEE01392C6}" srcOrd="0" destOrd="0" presId="urn:microsoft.com/office/officeart/2005/8/layout/orgChart1"/>
    <dgm:cxn modelId="{3A82FE03-A355-4EE2-9C6E-67B1B2870106}" type="presParOf" srcId="{262B163F-B9FE-4F1D-86AE-26DEE01392C6}" destId="{AA116131-4843-456E-94F9-5DA0799EF5AE}" srcOrd="0" destOrd="0" presId="urn:microsoft.com/office/officeart/2005/8/layout/orgChart1"/>
    <dgm:cxn modelId="{64BE1B25-9379-4928-BDD1-148972468DC9}" type="presParOf" srcId="{262B163F-B9FE-4F1D-86AE-26DEE01392C6}" destId="{4CACF079-4A9E-4E39-AC3E-B3B2254F3D5B}" srcOrd="1" destOrd="0" presId="urn:microsoft.com/office/officeart/2005/8/layout/orgChart1"/>
    <dgm:cxn modelId="{FF0EE67A-0FE1-48A6-8E95-EC85CABE0924}" type="presParOf" srcId="{976C7FA3-97C3-4A7E-88B2-F4979C90C7F8}" destId="{9EE62131-06C4-4CB0-AB39-35F80BA31F2E}" srcOrd="1" destOrd="0" presId="urn:microsoft.com/office/officeart/2005/8/layout/orgChart1"/>
    <dgm:cxn modelId="{93E835EB-35D4-4ADB-81A2-0B26EBA9DF94}" type="presParOf" srcId="{976C7FA3-97C3-4A7E-88B2-F4979C90C7F8}" destId="{B395DEFB-2143-4E49-8CD7-62D996F24FCA}" srcOrd="2" destOrd="0" presId="urn:microsoft.com/office/officeart/2005/8/layout/orgChart1"/>
    <dgm:cxn modelId="{535DF91E-9B6C-4D6E-8782-4B8EE27064A4}" type="presParOf" srcId="{E5F10C7B-88F2-4979-B2F9-253C6A93E146}" destId="{B418CFC6-EEC4-43C6-8E52-74048ADBECAB}" srcOrd="2" destOrd="0" presId="urn:microsoft.com/office/officeart/2005/8/layout/orgChart1"/>
    <dgm:cxn modelId="{73C60417-6EE8-4841-A2DB-DEF8484E175C}" type="presParOf" srcId="{E5F10C7B-88F2-4979-B2F9-253C6A93E146}" destId="{3E4D1AB0-7821-4F01-81D5-0CB3807BE046}" srcOrd="3" destOrd="0" presId="urn:microsoft.com/office/officeart/2005/8/layout/orgChart1"/>
    <dgm:cxn modelId="{E20CE9D3-ED67-47E0-B1E3-C5FD6C5F6160}" type="presParOf" srcId="{3E4D1AB0-7821-4F01-81D5-0CB3807BE046}" destId="{B18D9AF7-AC11-4CA9-912E-86EE6DF68466}" srcOrd="0" destOrd="0" presId="urn:microsoft.com/office/officeart/2005/8/layout/orgChart1"/>
    <dgm:cxn modelId="{1F3AE63D-5FD9-46E4-A4B2-378B7041C008}" type="presParOf" srcId="{B18D9AF7-AC11-4CA9-912E-86EE6DF68466}" destId="{618E46EE-25E1-4888-AE7C-3C3332369B84}" srcOrd="0" destOrd="0" presId="urn:microsoft.com/office/officeart/2005/8/layout/orgChart1"/>
    <dgm:cxn modelId="{2063D2C2-2752-40BA-A4E5-8F897FEF0251}" type="presParOf" srcId="{B18D9AF7-AC11-4CA9-912E-86EE6DF68466}" destId="{47F87399-131C-4898-B6F1-0C4762A34AE4}" srcOrd="1" destOrd="0" presId="urn:microsoft.com/office/officeart/2005/8/layout/orgChart1"/>
    <dgm:cxn modelId="{AC87C79B-0EB4-453B-877D-425967A85622}" type="presParOf" srcId="{3E4D1AB0-7821-4F01-81D5-0CB3807BE046}" destId="{A938E274-3CC9-4DEE-9898-C73494862AD1}" srcOrd="1" destOrd="0" presId="urn:microsoft.com/office/officeart/2005/8/layout/orgChart1"/>
    <dgm:cxn modelId="{6FD1EE4A-D304-4C2A-BF15-B0F29EA128FF}" type="presParOf" srcId="{3E4D1AB0-7821-4F01-81D5-0CB3807BE046}" destId="{B67E434B-0D79-493D-AC4E-C0956D5EF23C}" srcOrd="2" destOrd="0" presId="urn:microsoft.com/office/officeart/2005/8/layout/orgChart1"/>
    <dgm:cxn modelId="{84522A6A-DE04-48FE-B64B-5CBD3B01D574}" type="presParOf" srcId="{E5F10C7B-88F2-4979-B2F9-253C6A93E146}" destId="{178FC150-73BF-416D-A381-BD9D7ED3027A}" srcOrd="4" destOrd="0" presId="urn:microsoft.com/office/officeart/2005/8/layout/orgChart1"/>
    <dgm:cxn modelId="{8F0846D1-68D7-4533-AA77-1DEB209D15F9}" type="presParOf" srcId="{E5F10C7B-88F2-4979-B2F9-253C6A93E146}" destId="{9A1741EC-5EDD-4501-BDC7-EEDF978CBF37}" srcOrd="5" destOrd="0" presId="urn:microsoft.com/office/officeart/2005/8/layout/orgChart1"/>
    <dgm:cxn modelId="{85E4A5A1-194B-4FA2-BB29-1AE88E4CF6B3}" type="presParOf" srcId="{9A1741EC-5EDD-4501-BDC7-EEDF978CBF37}" destId="{295788B8-07A9-44DC-B8CE-EA0E78CCC852}" srcOrd="0" destOrd="0" presId="urn:microsoft.com/office/officeart/2005/8/layout/orgChart1"/>
    <dgm:cxn modelId="{DE2451F0-1CD5-45A8-A9E2-5C569639A4D0}" type="presParOf" srcId="{295788B8-07A9-44DC-B8CE-EA0E78CCC852}" destId="{8434FBF3-53CC-495E-BB1B-22FBDDBE30ED}" srcOrd="0" destOrd="0" presId="urn:microsoft.com/office/officeart/2005/8/layout/orgChart1"/>
    <dgm:cxn modelId="{4BE05F5B-5E40-47F7-AD93-742027D45226}" type="presParOf" srcId="{295788B8-07A9-44DC-B8CE-EA0E78CCC852}" destId="{7FA4785A-9BE3-4235-84C0-F5825401861A}" srcOrd="1" destOrd="0" presId="urn:microsoft.com/office/officeart/2005/8/layout/orgChart1"/>
    <dgm:cxn modelId="{A57FF1A9-572A-4E51-9B74-44C477EDD06A}" type="presParOf" srcId="{9A1741EC-5EDD-4501-BDC7-EEDF978CBF37}" destId="{D131C9A0-6CF7-4DF2-85BB-77DC1B2EEE84}" srcOrd="1" destOrd="0" presId="urn:microsoft.com/office/officeart/2005/8/layout/orgChart1"/>
    <dgm:cxn modelId="{2C264E6E-8D7F-4D1C-8ADC-C88689339CD2}" type="presParOf" srcId="{9A1741EC-5EDD-4501-BDC7-EEDF978CBF37}" destId="{8EFCFC62-2995-4B7F-9A02-71DE883D5DA7}" srcOrd="2" destOrd="0" presId="urn:microsoft.com/office/officeart/2005/8/layout/orgChart1"/>
    <dgm:cxn modelId="{8D483598-9794-4785-8C71-A84DD9A8A36B}" type="presParOf" srcId="{E5F10C7B-88F2-4979-B2F9-253C6A93E146}" destId="{B350BE60-2BDA-4374-84D9-4687DCDD2EBC}" srcOrd="6" destOrd="0" presId="urn:microsoft.com/office/officeart/2005/8/layout/orgChart1"/>
    <dgm:cxn modelId="{02468882-DD8B-43E3-9BF1-A26269E73D6E}" type="presParOf" srcId="{E5F10C7B-88F2-4979-B2F9-253C6A93E146}" destId="{05C1D8AC-998C-4AD6-8AEA-FAD369EE4A4E}" srcOrd="7" destOrd="0" presId="urn:microsoft.com/office/officeart/2005/8/layout/orgChart1"/>
    <dgm:cxn modelId="{856A02DE-1C7B-4BA0-8131-3C01ABF06BB7}" type="presParOf" srcId="{05C1D8AC-998C-4AD6-8AEA-FAD369EE4A4E}" destId="{B2A46B4E-4D9A-475C-BDE7-3DEFAEB73271}" srcOrd="0" destOrd="0" presId="urn:microsoft.com/office/officeart/2005/8/layout/orgChart1"/>
    <dgm:cxn modelId="{678CE359-6D7E-4DB7-B10F-D9791F5CE268}" type="presParOf" srcId="{B2A46B4E-4D9A-475C-BDE7-3DEFAEB73271}" destId="{E557D31B-FE7E-4CD7-9A79-5ADE246440F5}" srcOrd="0" destOrd="0" presId="urn:microsoft.com/office/officeart/2005/8/layout/orgChart1"/>
    <dgm:cxn modelId="{22F6EE71-3033-4F2E-BFBE-9A2520E6430F}" type="presParOf" srcId="{B2A46B4E-4D9A-475C-BDE7-3DEFAEB73271}" destId="{5E43865A-26D4-4823-9FD0-71E29AC536E8}" srcOrd="1" destOrd="0" presId="urn:microsoft.com/office/officeart/2005/8/layout/orgChart1"/>
    <dgm:cxn modelId="{B735BE70-5494-434C-A63C-FB4C4A46A9DC}" type="presParOf" srcId="{05C1D8AC-998C-4AD6-8AEA-FAD369EE4A4E}" destId="{88AFC158-AE7C-4619-B2DB-34E4ABBC46EC}" srcOrd="1" destOrd="0" presId="urn:microsoft.com/office/officeart/2005/8/layout/orgChart1"/>
    <dgm:cxn modelId="{C7F94C37-5563-4A61-B0C8-505A49A7D0AC}" type="presParOf" srcId="{05C1D8AC-998C-4AD6-8AEA-FAD369EE4A4E}" destId="{CE6C8E8E-F3A0-4B14-A702-253296FCAB49}" srcOrd="2" destOrd="0" presId="urn:microsoft.com/office/officeart/2005/8/layout/orgChart1"/>
    <dgm:cxn modelId="{F6047E8D-420D-4D15-BD8D-33EA8942B36C}" type="presParOf" srcId="{E5F10C7B-88F2-4979-B2F9-253C6A93E146}" destId="{281E2125-ECD3-4E00-9CDA-024BDF2D0F09}" srcOrd="8" destOrd="0" presId="urn:microsoft.com/office/officeart/2005/8/layout/orgChart1"/>
    <dgm:cxn modelId="{3F254B89-9877-4180-A41F-297A6CD1BC53}" type="presParOf" srcId="{E5F10C7B-88F2-4979-B2F9-253C6A93E146}" destId="{7ADBB82A-4A9D-4C47-A8EB-AC5FF9269B2F}" srcOrd="9" destOrd="0" presId="urn:microsoft.com/office/officeart/2005/8/layout/orgChart1"/>
    <dgm:cxn modelId="{9BF5D507-CB85-4B5C-AD37-8AE78B37F617}" type="presParOf" srcId="{7ADBB82A-4A9D-4C47-A8EB-AC5FF9269B2F}" destId="{9A784A38-ADC4-4B0A-AE7C-F70CFB53827E}" srcOrd="0" destOrd="0" presId="urn:microsoft.com/office/officeart/2005/8/layout/orgChart1"/>
    <dgm:cxn modelId="{380A4988-08D6-4078-BA63-8F74C1702B76}" type="presParOf" srcId="{9A784A38-ADC4-4B0A-AE7C-F70CFB53827E}" destId="{7F5BD868-3FB2-4432-B8E8-85AA2095AFDF}" srcOrd="0" destOrd="0" presId="urn:microsoft.com/office/officeart/2005/8/layout/orgChart1"/>
    <dgm:cxn modelId="{E7ECA25F-9C35-4A95-A738-E1C520DE2185}" type="presParOf" srcId="{9A784A38-ADC4-4B0A-AE7C-F70CFB53827E}" destId="{905B16D4-3FFF-410E-A309-FFF363771166}" srcOrd="1" destOrd="0" presId="urn:microsoft.com/office/officeart/2005/8/layout/orgChart1"/>
    <dgm:cxn modelId="{7ACAC45A-C244-47F3-8EB2-8912087FB6D8}" type="presParOf" srcId="{7ADBB82A-4A9D-4C47-A8EB-AC5FF9269B2F}" destId="{16B62FB1-C59C-401F-AA94-03AB2BC1DB5C}" srcOrd="1" destOrd="0" presId="urn:microsoft.com/office/officeart/2005/8/layout/orgChart1"/>
    <dgm:cxn modelId="{DE115125-1301-46F8-A34E-E06A425E8E63}" type="presParOf" srcId="{7ADBB82A-4A9D-4C47-A8EB-AC5FF9269B2F}" destId="{66BEE88E-70E2-471A-AB11-EC382D98C256}" srcOrd="2" destOrd="0" presId="urn:microsoft.com/office/officeart/2005/8/layout/orgChart1"/>
    <dgm:cxn modelId="{E5C40B6D-5A99-4D94-B8D6-E9F52A828F65}" type="presParOf" srcId="{D10E7A93-7D18-48F8-BE3A-761931A00B39}" destId="{4E72B058-E82D-4F24-AFBA-DC172A2838F1}" srcOrd="2" destOrd="0" presId="urn:microsoft.com/office/officeart/2005/8/layout/orgChart1"/>
    <dgm:cxn modelId="{7A34E6E7-0FAE-4654-A70F-3FA519E5341A}" type="presParOf" srcId="{4552F86E-171D-4D57-BF2B-065C2DC6E063}" destId="{D99DC523-A0FB-4625-8353-E7BE586ED17F}" srcOrd="2" destOrd="0" presId="urn:microsoft.com/office/officeart/2005/8/layout/orgChart1"/>
    <dgm:cxn modelId="{488A050C-E9F5-4675-99D7-7617F60EE09F}" type="presParOf" srcId="{4552F86E-171D-4D57-BF2B-065C2DC6E063}" destId="{FBEDF354-4AB7-4D88-9F9F-38E999D759BC}" srcOrd="3" destOrd="0" presId="urn:microsoft.com/office/officeart/2005/8/layout/orgChart1"/>
    <dgm:cxn modelId="{D4C37D37-A028-448F-9914-8F5CB1D98E8C}" type="presParOf" srcId="{FBEDF354-4AB7-4D88-9F9F-38E999D759BC}" destId="{97D6BF4C-48AF-43AC-8265-7D3FC4D59F6A}" srcOrd="0" destOrd="0" presId="urn:microsoft.com/office/officeart/2005/8/layout/orgChart1"/>
    <dgm:cxn modelId="{518EAD68-D51B-407F-88DA-BB851D4C580B}" type="presParOf" srcId="{97D6BF4C-48AF-43AC-8265-7D3FC4D59F6A}" destId="{0E214E11-E023-42F0-949E-D4B5EE6BF00B}" srcOrd="0" destOrd="0" presId="urn:microsoft.com/office/officeart/2005/8/layout/orgChart1"/>
    <dgm:cxn modelId="{97F7F713-4C6D-4DAC-AFDD-BAA60ABBDA81}" type="presParOf" srcId="{97D6BF4C-48AF-43AC-8265-7D3FC4D59F6A}" destId="{174DBD7B-676F-40CB-A854-FFEAC812914A}" srcOrd="1" destOrd="0" presId="urn:microsoft.com/office/officeart/2005/8/layout/orgChart1"/>
    <dgm:cxn modelId="{0D965649-B79D-4152-A5A6-0CAF08C4D1E0}" type="presParOf" srcId="{FBEDF354-4AB7-4D88-9F9F-38E999D759BC}" destId="{EC34D6C9-E2EE-4164-9A64-D01FDBECE3F8}" srcOrd="1" destOrd="0" presId="urn:microsoft.com/office/officeart/2005/8/layout/orgChart1"/>
    <dgm:cxn modelId="{6DC2FB34-5C78-4FF1-B32B-4F3004514783}" type="presParOf" srcId="{EC34D6C9-E2EE-4164-9A64-D01FDBECE3F8}" destId="{8603216B-8D19-4F7D-B157-A8C9FEF99D65}" srcOrd="0" destOrd="0" presId="urn:microsoft.com/office/officeart/2005/8/layout/orgChart1"/>
    <dgm:cxn modelId="{D4943122-7432-4A8A-A6EC-DCDF63C935B7}" type="presParOf" srcId="{EC34D6C9-E2EE-4164-9A64-D01FDBECE3F8}" destId="{2C4F6A6F-D776-49AE-BF12-3A525B4F42B9}" srcOrd="1" destOrd="0" presId="urn:microsoft.com/office/officeart/2005/8/layout/orgChart1"/>
    <dgm:cxn modelId="{E92E31BF-975D-4CF3-BA33-B761C025A93F}" type="presParOf" srcId="{2C4F6A6F-D776-49AE-BF12-3A525B4F42B9}" destId="{2043F8E6-629A-4731-88C6-29FB77F5D402}" srcOrd="0" destOrd="0" presId="urn:microsoft.com/office/officeart/2005/8/layout/orgChart1"/>
    <dgm:cxn modelId="{F8660DA4-A036-4CEA-8F16-6FEF61DB6DD0}" type="presParOf" srcId="{2043F8E6-629A-4731-88C6-29FB77F5D402}" destId="{04855EF9-FF16-4EFE-927E-96BB0C8C3828}" srcOrd="0" destOrd="0" presId="urn:microsoft.com/office/officeart/2005/8/layout/orgChart1"/>
    <dgm:cxn modelId="{F47688B7-082B-4160-941F-BBA607927A63}" type="presParOf" srcId="{2043F8E6-629A-4731-88C6-29FB77F5D402}" destId="{5DFBA267-DF77-4DE3-A8C4-1B09CE8BF4DF}" srcOrd="1" destOrd="0" presId="urn:microsoft.com/office/officeart/2005/8/layout/orgChart1"/>
    <dgm:cxn modelId="{F2536483-0E5D-44A8-873D-4017E7BA7714}" type="presParOf" srcId="{2C4F6A6F-D776-49AE-BF12-3A525B4F42B9}" destId="{893B0839-4048-405B-8D0F-C05E7B895C08}" srcOrd="1" destOrd="0" presId="urn:microsoft.com/office/officeart/2005/8/layout/orgChart1"/>
    <dgm:cxn modelId="{B75B177C-AD3E-4803-942F-176CD6C6A8E7}" type="presParOf" srcId="{2C4F6A6F-D776-49AE-BF12-3A525B4F42B9}" destId="{87C11AD4-75AD-4029-9FBD-53CA3B53EB55}" srcOrd="2" destOrd="0" presId="urn:microsoft.com/office/officeart/2005/8/layout/orgChart1"/>
    <dgm:cxn modelId="{3B1F4661-BD1B-49D2-81E8-236EB345F3BF}" type="presParOf" srcId="{EC34D6C9-E2EE-4164-9A64-D01FDBECE3F8}" destId="{F30B360D-8E56-41A6-A4EC-97B9C46F3B7F}" srcOrd="2" destOrd="0" presId="urn:microsoft.com/office/officeart/2005/8/layout/orgChart1"/>
    <dgm:cxn modelId="{281EA01C-7807-4F29-997B-2E248CC41E27}" type="presParOf" srcId="{EC34D6C9-E2EE-4164-9A64-D01FDBECE3F8}" destId="{3DADA795-7D81-4468-8AFF-C1A74B85642A}" srcOrd="3" destOrd="0" presId="urn:microsoft.com/office/officeart/2005/8/layout/orgChart1"/>
    <dgm:cxn modelId="{E719B7C1-E87D-4FEF-A5FC-570A3C0929AE}" type="presParOf" srcId="{3DADA795-7D81-4468-8AFF-C1A74B85642A}" destId="{DD99D67D-7AB0-433D-A2D7-FF1D220166A3}" srcOrd="0" destOrd="0" presId="urn:microsoft.com/office/officeart/2005/8/layout/orgChart1"/>
    <dgm:cxn modelId="{4FC9F789-6A0B-48FA-920C-80C0E4D1EC07}" type="presParOf" srcId="{DD99D67D-7AB0-433D-A2D7-FF1D220166A3}" destId="{B1BC0300-8519-43F8-9033-1E4D4898C3BD}" srcOrd="0" destOrd="0" presId="urn:microsoft.com/office/officeart/2005/8/layout/orgChart1"/>
    <dgm:cxn modelId="{76478F16-F1D4-4B83-B0DD-E9E6E2F96F40}" type="presParOf" srcId="{DD99D67D-7AB0-433D-A2D7-FF1D220166A3}" destId="{307426CF-548E-4531-B4C7-AFEFC316EF27}" srcOrd="1" destOrd="0" presId="urn:microsoft.com/office/officeart/2005/8/layout/orgChart1"/>
    <dgm:cxn modelId="{57F485A3-259A-450B-8D43-10BD0302E8B8}" type="presParOf" srcId="{3DADA795-7D81-4468-8AFF-C1A74B85642A}" destId="{2B8DF16D-071D-4D24-8E6E-ADA21EA4B567}" srcOrd="1" destOrd="0" presId="urn:microsoft.com/office/officeart/2005/8/layout/orgChart1"/>
    <dgm:cxn modelId="{9B889C4E-7CFA-42F9-ACF1-0E5A63F8D56B}" type="presParOf" srcId="{3DADA795-7D81-4468-8AFF-C1A74B85642A}" destId="{FB5BDA3C-0128-4908-9AB8-FEB706BF5872}" srcOrd="2" destOrd="0" presId="urn:microsoft.com/office/officeart/2005/8/layout/orgChart1"/>
    <dgm:cxn modelId="{4E08654F-C380-4C04-8925-A7B92685B393}" type="presParOf" srcId="{EC34D6C9-E2EE-4164-9A64-D01FDBECE3F8}" destId="{79E8509D-D200-4AD2-9176-BA1C925FA3FE}" srcOrd="4" destOrd="0" presId="urn:microsoft.com/office/officeart/2005/8/layout/orgChart1"/>
    <dgm:cxn modelId="{6680A670-E18F-4CC4-BF6E-0B13A772CC37}" type="presParOf" srcId="{EC34D6C9-E2EE-4164-9A64-D01FDBECE3F8}" destId="{1651CB8F-F8F3-4697-A767-3A8CCA72DE1F}" srcOrd="5" destOrd="0" presId="urn:microsoft.com/office/officeart/2005/8/layout/orgChart1"/>
    <dgm:cxn modelId="{53AB038B-0E1B-4ADA-9629-AFF79B486D18}" type="presParOf" srcId="{1651CB8F-F8F3-4697-A767-3A8CCA72DE1F}" destId="{EDB371B7-8CE5-4EB1-AD3F-E0F4173FC1DF}" srcOrd="0" destOrd="0" presId="urn:microsoft.com/office/officeart/2005/8/layout/orgChart1"/>
    <dgm:cxn modelId="{FBA3E32C-1CDD-4B93-87E3-3229768345E0}" type="presParOf" srcId="{EDB371B7-8CE5-4EB1-AD3F-E0F4173FC1DF}" destId="{8EFCE613-0888-43C3-A88B-CA08106F9803}" srcOrd="0" destOrd="0" presId="urn:microsoft.com/office/officeart/2005/8/layout/orgChart1"/>
    <dgm:cxn modelId="{5ED45EC7-0C93-4D3D-8F94-2E829C8CF2FF}" type="presParOf" srcId="{EDB371B7-8CE5-4EB1-AD3F-E0F4173FC1DF}" destId="{1F684BA0-1660-4D79-9FD9-76528EB8C18D}" srcOrd="1" destOrd="0" presId="urn:microsoft.com/office/officeart/2005/8/layout/orgChart1"/>
    <dgm:cxn modelId="{DD4ACBBC-4364-443A-B23D-AA7CAEFBDF44}" type="presParOf" srcId="{1651CB8F-F8F3-4697-A767-3A8CCA72DE1F}" destId="{289A3F5D-28EA-4566-A470-4B01F223C54F}" srcOrd="1" destOrd="0" presId="urn:microsoft.com/office/officeart/2005/8/layout/orgChart1"/>
    <dgm:cxn modelId="{D17530B7-D4CC-4024-9B82-1F540D2082FF}" type="presParOf" srcId="{1651CB8F-F8F3-4697-A767-3A8CCA72DE1F}" destId="{1B8F0675-C087-4017-AD83-CA4E2F2240FC}" srcOrd="2" destOrd="0" presId="urn:microsoft.com/office/officeart/2005/8/layout/orgChart1"/>
    <dgm:cxn modelId="{074AF92B-009A-4A42-8F98-2532AF27DF3A}" type="presParOf" srcId="{EC34D6C9-E2EE-4164-9A64-D01FDBECE3F8}" destId="{4F9CEBCB-3E07-4D52-B4A4-6B8EBED17822}" srcOrd="6" destOrd="0" presId="urn:microsoft.com/office/officeart/2005/8/layout/orgChart1"/>
    <dgm:cxn modelId="{FF4301D7-9E7B-4399-8BD9-553D676FDC6F}" type="presParOf" srcId="{EC34D6C9-E2EE-4164-9A64-D01FDBECE3F8}" destId="{2A4E7294-7F95-4A1D-82D5-DA3C56EC944D}" srcOrd="7" destOrd="0" presId="urn:microsoft.com/office/officeart/2005/8/layout/orgChart1"/>
    <dgm:cxn modelId="{A427E40B-590B-494B-A186-DB3CD3329524}" type="presParOf" srcId="{2A4E7294-7F95-4A1D-82D5-DA3C56EC944D}" destId="{DC2D1273-8E0E-47E3-8C1A-51D464495D74}" srcOrd="0" destOrd="0" presId="urn:microsoft.com/office/officeart/2005/8/layout/orgChart1"/>
    <dgm:cxn modelId="{473A260D-C6A0-4C35-B6AB-15F64730D8B8}" type="presParOf" srcId="{DC2D1273-8E0E-47E3-8C1A-51D464495D74}" destId="{997E4C9A-B4F3-4755-8B1F-D7881B3DF5B8}" srcOrd="0" destOrd="0" presId="urn:microsoft.com/office/officeart/2005/8/layout/orgChart1"/>
    <dgm:cxn modelId="{F5829D72-4BBD-4E1B-9DF3-B8D5820E32E2}" type="presParOf" srcId="{DC2D1273-8E0E-47E3-8C1A-51D464495D74}" destId="{C9DED0BE-5CF6-4D57-9E41-34DA0ACE07A9}" srcOrd="1" destOrd="0" presId="urn:microsoft.com/office/officeart/2005/8/layout/orgChart1"/>
    <dgm:cxn modelId="{E4FECD53-C2A8-46DE-849A-9D28FFABC7C8}" type="presParOf" srcId="{2A4E7294-7F95-4A1D-82D5-DA3C56EC944D}" destId="{271AFECE-4DA6-47D9-ACCC-44A5BFC0533D}" srcOrd="1" destOrd="0" presId="urn:microsoft.com/office/officeart/2005/8/layout/orgChart1"/>
    <dgm:cxn modelId="{6582BA6C-41E2-4967-8F1D-CFE8DC50394B}" type="presParOf" srcId="{2A4E7294-7F95-4A1D-82D5-DA3C56EC944D}" destId="{8DECCB34-46D5-4133-BD81-C515C2455D15}" srcOrd="2" destOrd="0" presId="urn:microsoft.com/office/officeart/2005/8/layout/orgChart1"/>
    <dgm:cxn modelId="{0EAEBD95-6BDD-4D5A-AD9F-014F8F96F7B8}" type="presParOf" srcId="{EC34D6C9-E2EE-4164-9A64-D01FDBECE3F8}" destId="{ADA6D691-513F-4B68-BA69-C2FE3DF7CFCA}" srcOrd="8" destOrd="0" presId="urn:microsoft.com/office/officeart/2005/8/layout/orgChart1"/>
    <dgm:cxn modelId="{C6AEAF2C-7D7F-4231-8624-F8D59D29DCC2}" type="presParOf" srcId="{EC34D6C9-E2EE-4164-9A64-D01FDBECE3F8}" destId="{8E76D0FD-C807-40DB-92FC-3468075B5F05}" srcOrd="9" destOrd="0" presId="urn:microsoft.com/office/officeart/2005/8/layout/orgChart1"/>
    <dgm:cxn modelId="{8FFFB69B-A120-46A1-93FD-0E105F7ED0BC}" type="presParOf" srcId="{8E76D0FD-C807-40DB-92FC-3468075B5F05}" destId="{EE2AFC3A-34B4-4EF9-ACA5-6113C25576CF}" srcOrd="0" destOrd="0" presId="urn:microsoft.com/office/officeart/2005/8/layout/orgChart1"/>
    <dgm:cxn modelId="{76E03D54-DD7B-45B3-80D0-BD3BE2FAB60B}" type="presParOf" srcId="{EE2AFC3A-34B4-4EF9-ACA5-6113C25576CF}" destId="{FF131D10-19AD-4154-B757-6C588F327FEB}" srcOrd="0" destOrd="0" presId="urn:microsoft.com/office/officeart/2005/8/layout/orgChart1"/>
    <dgm:cxn modelId="{7686F823-1749-4F75-AD2D-B3E48BC4D015}" type="presParOf" srcId="{EE2AFC3A-34B4-4EF9-ACA5-6113C25576CF}" destId="{0C654247-2371-4550-BB8D-4EA0B20C794C}" srcOrd="1" destOrd="0" presId="urn:microsoft.com/office/officeart/2005/8/layout/orgChart1"/>
    <dgm:cxn modelId="{1B79CD65-7ED1-4D82-A79E-4D2940464A4F}" type="presParOf" srcId="{8E76D0FD-C807-40DB-92FC-3468075B5F05}" destId="{D706EBC9-0968-4282-A6E1-C406589368D5}" srcOrd="1" destOrd="0" presId="urn:microsoft.com/office/officeart/2005/8/layout/orgChart1"/>
    <dgm:cxn modelId="{D8A2E3D3-A6B8-4214-AD7B-FEF5E8D12DF4}" type="presParOf" srcId="{8E76D0FD-C807-40DB-92FC-3468075B5F05}" destId="{A3F30D9E-5A17-491E-BE0B-1A5E21BCF493}" srcOrd="2" destOrd="0" presId="urn:microsoft.com/office/officeart/2005/8/layout/orgChart1"/>
    <dgm:cxn modelId="{0EC70EE7-4C13-49BC-9095-3085BD52BCFB}" type="presParOf" srcId="{FBEDF354-4AB7-4D88-9F9F-38E999D759BC}" destId="{52C25AC4-0A92-4D0B-89A4-B56DDF75DAC1}" srcOrd="2" destOrd="0" presId="urn:microsoft.com/office/officeart/2005/8/layout/orgChart1"/>
    <dgm:cxn modelId="{899EFEC5-842A-4472-ACAA-0B0DEB946D77}" type="presParOf" srcId="{4552F86E-171D-4D57-BF2B-065C2DC6E063}" destId="{2C5D9233-E922-480E-A546-C8C0865DBB32}" srcOrd="4" destOrd="0" presId="urn:microsoft.com/office/officeart/2005/8/layout/orgChart1"/>
    <dgm:cxn modelId="{68AF9F51-779F-49F5-8A0F-95608877B687}" type="presParOf" srcId="{4552F86E-171D-4D57-BF2B-065C2DC6E063}" destId="{6CE57BD3-4BD5-484E-A55F-A7023B984435}" srcOrd="5" destOrd="0" presId="urn:microsoft.com/office/officeart/2005/8/layout/orgChart1"/>
    <dgm:cxn modelId="{E2B2CDF9-6C93-4993-B1E7-8B2387744B1B}" type="presParOf" srcId="{6CE57BD3-4BD5-484E-A55F-A7023B984435}" destId="{104BE414-ECCF-4242-8587-BE6B356FA9BE}" srcOrd="0" destOrd="0" presId="urn:microsoft.com/office/officeart/2005/8/layout/orgChart1"/>
    <dgm:cxn modelId="{F1296EE2-59AB-452B-8B37-5FF1F74A2195}" type="presParOf" srcId="{104BE414-ECCF-4242-8587-BE6B356FA9BE}" destId="{C211D1E2-A010-4A2B-86E8-0F02FDA687CB}" srcOrd="0" destOrd="0" presId="urn:microsoft.com/office/officeart/2005/8/layout/orgChart1"/>
    <dgm:cxn modelId="{6F336CBA-7540-48C7-9529-7CC36D1E0260}" type="presParOf" srcId="{104BE414-ECCF-4242-8587-BE6B356FA9BE}" destId="{42FEA8FD-5BEE-4922-B4D4-26BADF860916}" srcOrd="1" destOrd="0" presId="urn:microsoft.com/office/officeart/2005/8/layout/orgChart1"/>
    <dgm:cxn modelId="{89E3C51A-381E-425C-BDF0-0FB9DD160F95}" type="presParOf" srcId="{6CE57BD3-4BD5-484E-A55F-A7023B984435}" destId="{09694D4B-A9FB-4824-ADDB-ED96EB7988DA}" srcOrd="1" destOrd="0" presId="urn:microsoft.com/office/officeart/2005/8/layout/orgChart1"/>
    <dgm:cxn modelId="{A73A7C9B-08DB-44AD-BBCB-295702ACD14E}" type="presParOf" srcId="{09694D4B-A9FB-4824-ADDB-ED96EB7988DA}" destId="{7BCD82EB-3CCE-41F0-A332-389CAD5C7562}" srcOrd="0" destOrd="0" presId="urn:microsoft.com/office/officeart/2005/8/layout/orgChart1"/>
    <dgm:cxn modelId="{FC9C7B5D-0116-403A-AFD6-E55C2A2870C3}" type="presParOf" srcId="{09694D4B-A9FB-4824-ADDB-ED96EB7988DA}" destId="{F6A69F41-4435-4EB0-8EA3-CA9B58D722B2}" srcOrd="1" destOrd="0" presId="urn:microsoft.com/office/officeart/2005/8/layout/orgChart1"/>
    <dgm:cxn modelId="{AFE6A8E9-54FC-463D-929E-812A6C7A2263}" type="presParOf" srcId="{F6A69F41-4435-4EB0-8EA3-CA9B58D722B2}" destId="{049B5B5C-90BE-4B75-A72C-451C2A55816D}" srcOrd="0" destOrd="0" presId="urn:microsoft.com/office/officeart/2005/8/layout/orgChart1"/>
    <dgm:cxn modelId="{B54953AE-2CA7-4FFC-9C30-FD481630ED7C}" type="presParOf" srcId="{049B5B5C-90BE-4B75-A72C-451C2A55816D}" destId="{CF77B62D-BE7F-4AD1-9F37-2149EAB399EE}" srcOrd="0" destOrd="0" presId="urn:microsoft.com/office/officeart/2005/8/layout/orgChart1"/>
    <dgm:cxn modelId="{28E92966-CBD8-4E6C-8388-122B3335A9EC}" type="presParOf" srcId="{049B5B5C-90BE-4B75-A72C-451C2A55816D}" destId="{13D350C9-59FE-44B0-8D5B-03426D8FDE20}" srcOrd="1" destOrd="0" presId="urn:microsoft.com/office/officeart/2005/8/layout/orgChart1"/>
    <dgm:cxn modelId="{DA02E257-628C-4A0D-8D3E-46200BA6EE03}" type="presParOf" srcId="{F6A69F41-4435-4EB0-8EA3-CA9B58D722B2}" destId="{B349B343-BE1D-443B-865C-686666AD665F}" srcOrd="1" destOrd="0" presId="urn:microsoft.com/office/officeart/2005/8/layout/orgChart1"/>
    <dgm:cxn modelId="{91AE3CE9-4F52-47DA-BC16-D1AA335FAD21}" type="presParOf" srcId="{F6A69F41-4435-4EB0-8EA3-CA9B58D722B2}" destId="{7EB7294C-A8B9-4298-9A70-19B79E769D3E}" srcOrd="2" destOrd="0" presId="urn:microsoft.com/office/officeart/2005/8/layout/orgChart1"/>
    <dgm:cxn modelId="{8579113D-B550-44DB-B9FC-08BE357D9065}" type="presParOf" srcId="{09694D4B-A9FB-4824-ADDB-ED96EB7988DA}" destId="{FBA8A821-8087-42F7-9157-793FE3A8F3D0}" srcOrd="2" destOrd="0" presId="urn:microsoft.com/office/officeart/2005/8/layout/orgChart1"/>
    <dgm:cxn modelId="{81249A7C-6EB5-4E89-ABCF-71B901328BA2}" type="presParOf" srcId="{09694D4B-A9FB-4824-ADDB-ED96EB7988DA}" destId="{ECE04648-16E8-44FD-A2C2-9AA72A74B1AC}" srcOrd="3" destOrd="0" presId="urn:microsoft.com/office/officeart/2005/8/layout/orgChart1"/>
    <dgm:cxn modelId="{0A68B65C-CBD3-4CAE-B871-9434AFABFE64}" type="presParOf" srcId="{ECE04648-16E8-44FD-A2C2-9AA72A74B1AC}" destId="{693AE1EF-BA87-4F29-8B98-14F1DDA00D2C}" srcOrd="0" destOrd="0" presId="urn:microsoft.com/office/officeart/2005/8/layout/orgChart1"/>
    <dgm:cxn modelId="{1F467931-5EED-4700-A303-001A7965A755}" type="presParOf" srcId="{693AE1EF-BA87-4F29-8B98-14F1DDA00D2C}" destId="{234F20C3-CD42-405E-A603-8BE6F9855121}" srcOrd="0" destOrd="0" presId="urn:microsoft.com/office/officeart/2005/8/layout/orgChart1"/>
    <dgm:cxn modelId="{A35CDAE4-60B0-4A88-8C4F-867032B803C9}" type="presParOf" srcId="{693AE1EF-BA87-4F29-8B98-14F1DDA00D2C}" destId="{AE225D63-49C8-429E-A6B6-9BA31D3C5B29}" srcOrd="1" destOrd="0" presId="urn:microsoft.com/office/officeart/2005/8/layout/orgChart1"/>
    <dgm:cxn modelId="{7EF5C25C-1F75-43BF-BEFB-9417D8042191}" type="presParOf" srcId="{ECE04648-16E8-44FD-A2C2-9AA72A74B1AC}" destId="{816EAC12-5E24-4578-AF3D-538040CDAC3B}" srcOrd="1" destOrd="0" presId="urn:microsoft.com/office/officeart/2005/8/layout/orgChart1"/>
    <dgm:cxn modelId="{5CC50FAE-706E-4BFF-968D-6ECD93C62999}" type="presParOf" srcId="{ECE04648-16E8-44FD-A2C2-9AA72A74B1AC}" destId="{A37DF121-B410-4C50-A2AA-7103B9E5F9FE}" srcOrd="2" destOrd="0" presId="urn:microsoft.com/office/officeart/2005/8/layout/orgChart1"/>
    <dgm:cxn modelId="{E7D1364D-6466-43BD-88E7-799E6E9A4D53}" type="presParOf" srcId="{09694D4B-A9FB-4824-ADDB-ED96EB7988DA}" destId="{44C0CF06-581E-418D-956C-690C200DE7F5}" srcOrd="4" destOrd="0" presId="urn:microsoft.com/office/officeart/2005/8/layout/orgChart1"/>
    <dgm:cxn modelId="{183D84E8-EC71-467C-A5BC-D964803A5669}" type="presParOf" srcId="{09694D4B-A9FB-4824-ADDB-ED96EB7988DA}" destId="{3E52F205-213A-4CBC-85F4-365EF0666B7C}" srcOrd="5" destOrd="0" presId="urn:microsoft.com/office/officeart/2005/8/layout/orgChart1"/>
    <dgm:cxn modelId="{AB0ED7D2-C3C9-4F32-9195-40B74A3ED9A3}" type="presParOf" srcId="{3E52F205-213A-4CBC-85F4-365EF0666B7C}" destId="{82478F43-9FEC-43CF-A333-A1AA9A1D4BD3}" srcOrd="0" destOrd="0" presId="urn:microsoft.com/office/officeart/2005/8/layout/orgChart1"/>
    <dgm:cxn modelId="{D769C26B-C1A4-4E61-B013-9ADA28F2C09E}" type="presParOf" srcId="{82478F43-9FEC-43CF-A333-A1AA9A1D4BD3}" destId="{0ED1EE40-EC7B-41B3-BEC5-1AACA348A4BE}" srcOrd="0" destOrd="0" presId="urn:microsoft.com/office/officeart/2005/8/layout/orgChart1"/>
    <dgm:cxn modelId="{A5F28696-0A5A-48C3-9F91-0B11A82B6EEF}" type="presParOf" srcId="{82478F43-9FEC-43CF-A333-A1AA9A1D4BD3}" destId="{6B42DEF9-FC5F-4118-9FC3-A3EA6BAB91D5}" srcOrd="1" destOrd="0" presId="urn:microsoft.com/office/officeart/2005/8/layout/orgChart1"/>
    <dgm:cxn modelId="{D2768F0C-FCDA-4E86-94BC-F11007CB88A6}" type="presParOf" srcId="{3E52F205-213A-4CBC-85F4-365EF0666B7C}" destId="{4F8933C2-BC0E-4B03-A23B-9B6672B840F9}" srcOrd="1" destOrd="0" presId="urn:microsoft.com/office/officeart/2005/8/layout/orgChart1"/>
    <dgm:cxn modelId="{CD1A3223-C6C4-48E9-87CF-300C7ABB3B1B}" type="presParOf" srcId="{3E52F205-213A-4CBC-85F4-365EF0666B7C}" destId="{1F5F8AC2-58EC-4342-BA55-A031770543EF}" srcOrd="2" destOrd="0" presId="urn:microsoft.com/office/officeart/2005/8/layout/orgChart1"/>
    <dgm:cxn modelId="{C319B954-F2DD-477B-8D3B-10A7850D56C5}" type="presParOf" srcId="{09694D4B-A9FB-4824-ADDB-ED96EB7988DA}" destId="{78976918-A4A3-4035-8D81-D56813684814}" srcOrd="6" destOrd="0" presId="urn:microsoft.com/office/officeart/2005/8/layout/orgChart1"/>
    <dgm:cxn modelId="{A5952AAA-D91D-4639-80CB-B9A0E11E1F92}" type="presParOf" srcId="{09694D4B-A9FB-4824-ADDB-ED96EB7988DA}" destId="{DBC8C23F-F94D-42F5-8B26-2D83A176902C}" srcOrd="7" destOrd="0" presId="urn:microsoft.com/office/officeart/2005/8/layout/orgChart1"/>
    <dgm:cxn modelId="{16B1E17D-BF5B-4383-9B1E-6C79F2E0647A}" type="presParOf" srcId="{DBC8C23F-F94D-42F5-8B26-2D83A176902C}" destId="{9B331011-CCE6-4003-8DF7-FA25FF08D138}" srcOrd="0" destOrd="0" presId="urn:microsoft.com/office/officeart/2005/8/layout/orgChart1"/>
    <dgm:cxn modelId="{0F2376B5-0246-4265-93BF-8B3144AB4971}" type="presParOf" srcId="{9B331011-CCE6-4003-8DF7-FA25FF08D138}" destId="{E5FCAF91-3776-4CDC-ABCA-202708193120}" srcOrd="0" destOrd="0" presId="urn:microsoft.com/office/officeart/2005/8/layout/orgChart1"/>
    <dgm:cxn modelId="{EA1463BD-E9AD-44A7-8BE3-456878D8AC16}" type="presParOf" srcId="{9B331011-CCE6-4003-8DF7-FA25FF08D138}" destId="{AFD69B81-D44C-4733-BA0B-85C166472E4E}" srcOrd="1" destOrd="0" presId="urn:microsoft.com/office/officeart/2005/8/layout/orgChart1"/>
    <dgm:cxn modelId="{5C6DF52E-A371-4053-A2E7-4A51AF35281C}" type="presParOf" srcId="{DBC8C23F-F94D-42F5-8B26-2D83A176902C}" destId="{B9AE433C-E52E-4433-88FC-BF011B861C1C}" srcOrd="1" destOrd="0" presId="urn:microsoft.com/office/officeart/2005/8/layout/orgChart1"/>
    <dgm:cxn modelId="{A008EF59-35AC-47B1-AFD3-0495E82F9A09}" type="presParOf" srcId="{DBC8C23F-F94D-42F5-8B26-2D83A176902C}" destId="{6E97BFF3-D4DE-40FC-A513-B1123F640BBA}" srcOrd="2" destOrd="0" presId="urn:microsoft.com/office/officeart/2005/8/layout/orgChart1"/>
    <dgm:cxn modelId="{44DDD9D7-FBA7-4CEC-877D-AF56332B5A89}" type="presParOf" srcId="{09694D4B-A9FB-4824-ADDB-ED96EB7988DA}" destId="{CE729008-099D-4A08-A102-E60D944FC48F}" srcOrd="8" destOrd="0" presId="urn:microsoft.com/office/officeart/2005/8/layout/orgChart1"/>
    <dgm:cxn modelId="{EE719DEC-BB95-4E58-A2B1-1552C9AF0C55}" type="presParOf" srcId="{09694D4B-A9FB-4824-ADDB-ED96EB7988DA}" destId="{DB31EB0C-7A84-4AB1-A9D8-971024FED4BC}" srcOrd="9" destOrd="0" presId="urn:microsoft.com/office/officeart/2005/8/layout/orgChart1"/>
    <dgm:cxn modelId="{AC28971A-1B50-4422-A1B9-F9D5E06BBA90}" type="presParOf" srcId="{DB31EB0C-7A84-4AB1-A9D8-971024FED4BC}" destId="{91584322-F64F-4D12-80A0-778439A26BC4}" srcOrd="0" destOrd="0" presId="urn:microsoft.com/office/officeart/2005/8/layout/orgChart1"/>
    <dgm:cxn modelId="{328D8A59-D39B-45FA-A311-8C72B3869F21}" type="presParOf" srcId="{91584322-F64F-4D12-80A0-778439A26BC4}" destId="{C091B7E7-2F31-4DB8-990E-E618A35CC32F}" srcOrd="0" destOrd="0" presId="urn:microsoft.com/office/officeart/2005/8/layout/orgChart1"/>
    <dgm:cxn modelId="{75DD3370-B43E-4852-BCF1-7D486AFF0927}" type="presParOf" srcId="{91584322-F64F-4D12-80A0-778439A26BC4}" destId="{F52A4416-A355-4496-A0B1-4CBF01986EC7}" srcOrd="1" destOrd="0" presId="urn:microsoft.com/office/officeart/2005/8/layout/orgChart1"/>
    <dgm:cxn modelId="{4F5C805E-9BE0-4150-89C4-7433C3BF3A0A}" type="presParOf" srcId="{DB31EB0C-7A84-4AB1-A9D8-971024FED4BC}" destId="{1EF9C801-189A-4D47-82D8-7F7C2CF71A6F}" srcOrd="1" destOrd="0" presId="urn:microsoft.com/office/officeart/2005/8/layout/orgChart1"/>
    <dgm:cxn modelId="{E1BE4E1E-DD06-49A4-A9EA-CA77564BDAF8}" type="presParOf" srcId="{DB31EB0C-7A84-4AB1-A9D8-971024FED4BC}" destId="{E4073853-E7A7-48B4-BACA-FFE2932E5B4C}" srcOrd="2" destOrd="0" presId="urn:microsoft.com/office/officeart/2005/8/layout/orgChart1"/>
    <dgm:cxn modelId="{04AC9503-D38E-40C9-B315-9B3CDD38C302}" type="presParOf" srcId="{6CE57BD3-4BD5-484E-A55F-A7023B984435}" destId="{F9721ED2-30BA-4072-BC74-1F304C8FC0E5}" srcOrd="2" destOrd="0" presId="urn:microsoft.com/office/officeart/2005/8/layout/orgChart1"/>
    <dgm:cxn modelId="{8381E839-B66D-49AA-AC20-1065F755A262}" type="presParOf" srcId="{4552F86E-171D-4D57-BF2B-065C2DC6E063}" destId="{C2EFA9A1-6CA6-4941-8A47-8DE384814D70}" srcOrd="6" destOrd="0" presId="urn:microsoft.com/office/officeart/2005/8/layout/orgChart1"/>
    <dgm:cxn modelId="{D21C598C-A01B-407A-85EB-1556A27A11C2}" type="presParOf" srcId="{4552F86E-171D-4D57-BF2B-065C2DC6E063}" destId="{04CD6D5F-5B18-46E1-AE1A-763A71B91ADF}" srcOrd="7" destOrd="0" presId="urn:microsoft.com/office/officeart/2005/8/layout/orgChart1"/>
    <dgm:cxn modelId="{B3AA416B-17FE-4EEB-A258-424DDF737928}" type="presParOf" srcId="{04CD6D5F-5B18-46E1-AE1A-763A71B91ADF}" destId="{AB727BE8-19AD-4B5F-AC95-5EEA03AECEDF}" srcOrd="0" destOrd="0" presId="urn:microsoft.com/office/officeart/2005/8/layout/orgChart1"/>
    <dgm:cxn modelId="{279FEDD0-3170-4AC7-B4DE-573C3C82F61E}" type="presParOf" srcId="{AB727BE8-19AD-4B5F-AC95-5EEA03AECEDF}" destId="{B3E31A91-F33C-4639-BCEB-413A151701C6}" srcOrd="0" destOrd="0" presId="urn:microsoft.com/office/officeart/2005/8/layout/orgChart1"/>
    <dgm:cxn modelId="{99EC204F-38D3-4E4A-A9B6-8583463E332E}" type="presParOf" srcId="{AB727BE8-19AD-4B5F-AC95-5EEA03AECEDF}" destId="{B9DF87EC-68ED-4CC6-A058-18BDC7942E84}" srcOrd="1" destOrd="0" presId="urn:microsoft.com/office/officeart/2005/8/layout/orgChart1"/>
    <dgm:cxn modelId="{DE9EB4E8-5A01-45B8-94D9-A6471D9AC9D6}" type="presParOf" srcId="{04CD6D5F-5B18-46E1-AE1A-763A71B91ADF}" destId="{D24FBB85-E511-4590-9D6F-12A29F347C98}" srcOrd="1" destOrd="0" presId="urn:microsoft.com/office/officeart/2005/8/layout/orgChart1"/>
    <dgm:cxn modelId="{484E45A5-AFA9-4373-9026-B6EE96819A52}" type="presParOf" srcId="{D24FBB85-E511-4590-9D6F-12A29F347C98}" destId="{12A8D5DD-32A8-4748-9250-132C912FE24E}" srcOrd="0" destOrd="0" presId="urn:microsoft.com/office/officeart/2005/8/layout/orgChart1"/>
    <dgm:cxn modelId="{31E5178E-4179-43A8-BF9A-125354F0EB98}" type="presParOf" srcId="{D24FBB85-E511-4590-9D6F-12A29F347C98}" destId="{2FC65BD9-359D-44A8-B282-A327595045D8}" srcOrd="1" destOrd="0" presId="urn:microsoft.com/office/officeart/2005/8/layout/orgChart1"/>
    <dgm:cxn modelId="{E3341AE8-9028-4433-8D6F-67A288B55DBB}" type="presParOf" srcId="{2FC65BD9-359D-44A8-B282-A327595045D8}" destId="{FAB2BF4D-EB1D-4CE5-AED7-226AC4FF5075}" srcOrd="0" destOrd="0" presId="urn:microsoft.com/office/officeart/2005/8/layout/orgChart1"/>
    <dgm:cxn modelId="{84379D8E-BE3C-4064-921A-CB1A64B4B48F}" type="presParOf" srcId="{FAB2BF4D-EB1D-4CE5-AED7-226AC4FF5075}" destId="{12A2836B-CA16-489E-97CC-34448E041DE7}" srcOrd="0" destOrd="0" presId="urn:microsoft.com/office/officeart/2005/8/layout/orgChart1"/>
    <dgm:cxn modelId="{04C62AA4-F065-4C34-825F-7465BE2332A0}" type="presParOf" srcId="{FAB2BF4D-EB1D-4CE5-AED7-226AC4FF5075}" destId="{7A10621B-2038-4FF3-BAB6-9DFF8662A264}" srcOrd="1" destOrd="0" presId="urn:microsoft.com/office/officeart/2005/8/layout/orgChart1"/>
    <dgm:cxn modelId="{58A1E381-E84C-4F92-A48D-668DBE8EBB42}" type="presParOf" srcId="{2FC65BD9-359D-44A8-B282-A327595045D8}" destId="{EDB44D0C-A420-4843-8800-FA0A91BF64D8}" srcOrd="1" destOrd="0" presId="urn:microsoft.com/office/officeart/2005/8/layout/orgChart1"/>
    <dgm:cxn modelId="{1F9E9D94-6C43-43A4-85E9-9D1BE79B592D}" type="presParOf" srcId="{2FC65BD9-359D-44A8-B282-A327595045D8}" destId="{EF9FFA54-C478-480B-843F-F08EED76158F}" srcOrd="2" destOrd="0" presId="urn:microsoft.com/office/officeart/2005/8/layout/orgChart1"/>
    <dgm:cxn modelId="{293EDB9D-8336-4146-A1BF-12DA423EE56A}" type="presParOf" srcId="{D24FBB85-E511-4590-9D6F-12A29F347C98}" destId="{BC1F8B47-7DB9-4D6B-AED7-0FAFB8248B55}" srcOrd="2" destOrd="0" presId="urn:microsoft.com/office/officeart/2005/8/layout/orgChart1"/>
    <dgm:cxn modelId="{DE18FECD-466D-458B-9296-08FA19A424CA}" type="presParOf" srcId="{D24FBB85-E511-4590-9D6F-12A29F347C98}" destId="{C6F353EA-4EB4-4F83-872E-CD65ACD23DE4}" srcOrd="3" destOrd="0" presId="urn:microsoft.com/office/officeart/2005/8/layout/orgChart1"/>
    <dgm:cxn modelId="{DDD819F6-DD7D-4095-A19C-D99FEB490386}" type="presParOf" srcId="{C6F353EA-4EB4-4F83-872E-CD65ACD23DE4}" destId="{8DA23D7E-0DE1-42A1-9588-BF8D3D862747}" srcOrd="0" destOrd="0" presId="urn:microsoft.com/office/officeart/2005/8/layout/orgChart1"/>
    <dgm:cxn modelId="{49760336-851B-4CB9-8678-65A2F55AB97D}" type="presParOf" srcId="{8DA23D7E-0DE1-42A1-9588-BF8D3D862747}" destId="{B830D946-12F4-46DA-B377-60323B20C5B0}" srcOrd="0" destOrd="0" presId="urn:microsoft.com/office/officeart/2005/8/layout/orgChart1"/>
    <dgm:cxn modelId="{8E64A590-3677-4F30-B4D2-71E9E9BD431E}" type="presParOf" srcId="{8DA23D7E-0DE1-42A1-9588-BF8D3D862747}" destId="{63A8026E-78F0-4851-B533-E4973DBE23DA}" srcOrd="1" destOrd="0" presId="urn:microsoft.com/office/officeart/2005/8/layout/orgChart1"/>
    <dgm:cxn modelId="{0DB76340-4D85-434A-94BC-E21E3DCB0CCE}" type="presParOf" srcId="{C6F353EA-4EB4-4F83-872E-CD65ACD23DE4}" destId="{87CC1DF5-CC3F-4283-B20E-7CE416F18331}" srcOrd="1" destOrd="0" presId="urn:microsoft.com/office/officeart/2005/8/layout/orgChart1"/>
    <dgm:cxn modelId="{9D0D4EEC-2911-4470-B05F-8F95BCE16540}" type="presParOf" srcId="{C6F353EA-4EB4-4F83-872E-CD65ACD23DE4}" destId="{2C2BBD66-2CA8-4ABD-B650-51493AF3D9D2}" srcOrd="2" destOrd="0" presId="urn:microsoft.com/office/officeart/2005/8/layout/orgChart1"/>
    <dgm:cxn modelId="{DABD08D0-CC1B-44D5-8102-9B8305FC58A0}" type="presParOf" srcId="{D24FBB85-E511-4590-9D6F-12A29F347C98}" destId="{84CEE927-2EAC-4BC9-86A2-4644B7D61174}" srcOrd="4" destOrd="0" presId="urn:microsoft.com/office/officeart/2005/8/layout/orgChart1"/>
    <dgm:cxn modelId="{555DF278-6FAE-40D6-925F-D9A02C574405}" type="presParOf" srcId="{D24FBB85-E511-4590-9D6F-12A29F347C98}" destId="{52EA3598-BC6F-4AAC-96E4-5274EF229BDB}" srcOrd="5" destOrd="0" presId="urn:microsoft.com/office/officeart/2005/8/layout/orgChart1"/>
    <dgm:cxn modelId="{B0EA07D9-EF62-4E04-BFF0-AFC434922018}" type="presParOf" srcId="{52EA3598-BC6F-4AAC-96E4-5274EF229BDB}" destId="{3FD2CF9A-91DF-4F2B-816C-7B10D8D524C2}" srcOrd="0" destOrd="0" presId="urn:microsoft.com/office/officeart/2005/8/layout/orgChart1"/>
    <dgm:cxn modelId="{22D96CC1-81BA-4D52-AE53-AE45D4291940}" type="presParOf" srcId="{3FD2CF9A-91DF-4F2B-816C-7B10D8D524C2}" destId="{348BAFE5-7668-45FB-B549-E51156B62F13}" srcOrd="0" destOrd="0" presId="urn:microsoft.com/office/officeart/2005/8/layout/orgChart1"/>
    <dgm:cxn modelId="{98C91E4E-B907-494B-9109-16E3E3FB86C2}" type="presParOf" srcId="{3FD2CF9A-91DF-4F2B-816C-7B10D8D524C2}" destId="{5F05EC08-B909-4490-A294-156241F773C4}" srcOrd="1" destOrd="0" presId="urn:microsoft.com/office/officeart/2005/8/layout/orgChart1"/>
    <dgm:cxn modelId="{98B04207-A526-43B5-88C0-C815D0A74D7B}" type="presParOf" srcId="{52EA3598-BC6F-4AAC-96E4-5274EF229BDB}" destId="{0C7CE1D5-DAE9-419B-AC0A-504F2015BB30}" srcOrd="1" destOrd="0" presId="urn:microsoft.com/office/officeart/2005/8/layout/orgChart1"/>
    <dgm:cxn modelId="{7BAA8F53-557C-4C53-BEB7-ABC60E0AFB28}" type="presParOf" srcId="{52EA3598-BC6F-4AAC-96E4-5274EF229BDB}" destId="{DD90C003-5C27-4FCA-8D3B-E004D97D8D5C}" srcOrd="2" destOrd="0" presId="urn:microsoft.com/office/officeart/2005/8/layout/orgChart1"/>
    <dgm:cxn modelId="{F8E02904-19CB-4774-9B47-C73B7268094F}" type="presParOf" srcId="{D24FBB85-E511-4590-9D6F-12A29F347C98}" destId="{42AB63E4-BFA0-4F80-919C-7AC9383B3E94}" srcOrd="6" destOrd="0" presId="urn:microsoft.com/office/officeart/2005/8/layout/orgChart1"/>
    <dgm:cxn modelId="{7A972575-6083-4F7B-978B-4B4252ACC376}" type="presParOf" srcId="{D24FBB85-E511-4590-9D6F-12A29F347C98}" destId="{F3462FCE-CE48-46A6-BF77-7B4942503C5D}" srcOrd="7" destOrd="0" presId="urn:microsoft.com/office/officeart/2005/8/layout/orgChart1"/>
    <dgm:cxn modelId="{30FB92DF-A951-41E7-BD2C-AA3323AF1719}" type="presParOf" srcId="{F3462FCE-CE48-46A6-BF77-7B4942503C5D}" destId="{47E6976E-7845-4C6A-B2FE-CE26AC51B61A}" srcOrd="0" destOrd="0" presId="urn:microsoft.com/office/officeart/2005/8/layout/orgChart1"/>
    <dgm:cxn modelId="{85E4E900-A38D-4012-AE99-9D8C0483F8CD}" type="presParOf" srcId="{47E6976E-7845-4C6A-B2FE-CE26AC51B61A}" destId="{D568A7A6-C940-4BF6-B5F1-425EC48869A3}" srcOrd="0" destOrd="0" presId="urn:microsoft.com/office/officeart/2005/8/layout/orgChart1"/>
    <dgm:cxn modelId="{2D5F4F5C-D1D5-4F1A-AA88-068A463C78FC}" type="presParOf" srcId="{47E6976E-7845-4C6A-B2FE-CE26AC51B61A}" destId="{A6EE5B7D-AEC4-4D0C-BB18-EF38571CF502}" srcOrd="1" destOrd="0" presId="urn:microsoft.com/office/officeart/2005/8/layout/orgChart1"/>
    <dgm:cxn modelId="{9910E398-E8C2-413C-A78B-20418E1B2F7A}" type="presParOf" srcId="{F3462FCE-CE48-46A6-BF77-7B4942503C5D}" destId="{80B34559-DB03-4B9F-8050-673D79EFBD71}" srcOrd="1" destOrd="0" presId="urn:microsoft.com/office/officeart/2005/8/layout/orgChart1"/>
    <dgm:cxn modelId="{2353460E-B270-4E56-92F9-BCE5DDE9EF07}" type="presParOf" srcId="{F3462FCE-CE48-46A6-BF77-7B4942503C5D}" destId="{EE504F5D-BA2B-41A4-BF1F-9D98AF7CE2FC}" srcOrd="2" destOrd="0" presId="urn:microsoft.com/office/officeart/2005/8/layout/orgChart1"/>
    <dgm:cxn modelId="{B2E01D05-B77B-4A8C-9F5D-176AD4867471}" type="presParOf" srcId="{D24FBB85-E511-4590-9D6F-12A29F347C98}" destId="{E0B300C3-0D19-4DE7-98D1-D04851A9878A}" srcOrd="8" destOrd="0" presId="urn:microsoft.com/office/officeart/2005/8/layout/orgChart1"/>
    <dgm:cxn modelId="{8FB58366-4358-4A01-9CFB-9F001C0E3BCC}" type="presParOf" srcId="{D24FBB85-E511-4590-9D6F-12A29F347C98}" destId="{A8E23B29-AC57-4C82-9AB3-7DBE2F3CB03A}" srcOrd="9" destOrd="0" presId="urn:microsoft.com/office/officeart/2005/8/layout/orgChart1"/>
    <dgm:cxn modelId="{C43A2D4D-4722-4FE1-8D4B-111FE058233F}" type="presParOf" srcId="{A8E23B29-AC57-4C82-9AB3-7DBE2F3CB03A}" destId="{79324899-5301-4041-8DAA-3483FD9675C3}" srcOrd="0" destOrd="0" presId="urn:microsoft.com/office/officeart/2005/8/layout/orgChart1"/>
    <dgm:cxn modelId="{86A7AD11-FBAF-4E12-847D-C97246FF2EEF}" type="presParOf" srcId="{79324899-5301-4041-8DAA-3483FD9675C3}" destId="{1160403C-2486-4FA7-93BF-C43A325034DE}" srcOrd="0" destOrd="0" presId="urn:microsoft.com/office/officeart/2005/8/layout/orgChart1"/>
    <dgm:cxn modelId="{0181EC82-A6A5-4DE0-841C-CF0A5028979E}" type="presParOf" srcId="{79324899-5301-4041-8DAA-3483FD9675C3}" destId="{F4619476-179E-4A84-9AFD-3FA5F5AF1FF8}" srcOrd="1" destOrd="0" presId="urn:microsoft.com/office/officeart/2005/8/layout/orgChart1"/>
    <dgm:cxn modelId="{6720FB5E-63AE-4E55-9B66-C7020ED22142}" type="presParOf" srcId="{A8E23B29-AC57-4C82-9AB3-7DBE2F3CB03A}" destId="{08B54B9E-DA48-4BB1-935A-259B087A0ECB}" srcOrd="1" destOrd="0" presId="urn:microsoft.com/office/officeart/2005/8/layout/orgChart1"/>
    <dgm:cxn modelId="{50BDCF42-9901-4370-B455-64C05653F4D7}" type="presParOf" srcId="{A8E23B29-AC57-4C82-9AB3-7DBE2F3CB03A}" destId="{0FF0EC5B-CDA4-4530-B2B1-97CB0A9CA703}" srcOrd="2" destOrd="0" presId="urn:microsoft.com/office/officeart/2005/8/layout/orgChart1"/>
    <dgm:cxn modelId="{6DE0F5B4-3795-44CA-B51B-4BD6C862B0A1}" type="presParOf" srcId="{04CD6D5F-5B18-46E1-AE1A-763A71B91ADF}" destId="{A3A54605-14C5-40E1-ADB9-1BEECB2C3FBE}" srcOrd="2" destOrd="0" presId="urn:microsoft.com/office/officeart/2005/8/layout/orgChart1"/>
    <dgm:cxn modelId="{E1693113-5F4B-4561-9619-F4E2EA6F9A9E}" type="presParOf" srcId="{4552F86E-171D-4D57-BF2B-065C2DC6E063}" destId="{3DC2E87A-5A21-483C-BD3B-0DF66BF69BC8}" srcOrd="8" destOrd="0" presId="urn:microsoft.com/office/officeart/2005/8/layout/orgChart1"/>
    <dgm:cxn modelId="{5FCA1A2F-941A-44D7-AB90-311C88E5826E}" type="presParOf" srcId="{4552F86E-171D-4D57-BF2B-065C2DC6E063}" destId="{93931AFF-0406-4E02-A8A1-604A61379E6E}" srcOrd="9" destOrd="0" presId="urn:microsoft.com/office/officeart/2005/8/layout/orgChart1"/>
    <dgm:cxn modelId="{8C0CF182-E9F2-4505-94CF-E6DDCD6EE1DB}" type="presParOf" srcId="{93931AFF-0406-4E02-A8A1-604A61379E6E}" destId="{3E692849-0CD0-4339-B76D-89EA119CCD53}" srcOrd="0" destOrd="0" presId="urn:microsoft.com/office/officeart/2005/8/layout/orgChart1"/>
    <dgm:cxn modelId="{F7C5E9E2-7AA7-43B3-A237-CF0737548AE8}" type="presParOf" srcId="{3E692849-0CD0-4339-B76D-89EA119CCD53}" destId="{D18BF322-C5F5-400E-96A5-15D71C5A8534}" srcOrd="0" destOrd="0" presId="urn:microsoft.com/office/officeart/2005/8/layout/orgChart1"/>
    <dgm:cxn modelId="{8372F9AF-84B2-4715-9630-7E2F3C3BF90C}" type="presParOf" srcId="{3E692849-0CD0-4339-B76D-89EA119CCD53}" destId="{906BAC9A-7793-4C85-8BC3-578BC4BFAA78}" srcOrd="1" destOrd="0" presId="urn:microsoft.com/office/officeart/2005/8/layout/orgChart1"/>
    <dgm:cxn modelId="{69315D9F-830F-4C93-8D28-8389019BA90C}" type="presParOf" srcId="{93931AFF-0406-4E02-A8A1-604A61379E6E}" destId="{F011D5DD-F6C3-411A-A5D9-18708349C8D2}" srcOrd="1" destOrd="0" presId="urn:microsoft.com/office/officeart/2005/8/layout/orgChart1"/>
    <dgm:cxn modelId="{DE911B6B-C12C-497C-9E99-36738AF5FCF0}" type="presParOf" srcId="{F011D5DD-F6C3-411A-A5D9-18708349C8D2}" destId="{D1C6AC2B-B0ED-424F-9FA2-D6D4C4A6A414}" srcOrd="0" destOrd="0" presId="urn:microsoft.com/office/officeart/2005/8/layout/orgChart1"/>
    <dgm:cxn modelId="{58BF70E8-0B30-473E-8518-2DF60291E0BB}" type="presParOf" srcId="{F011D5DD-F6C3-411A-A5D9-18708349C8D2}" destId="{ED730B4C-57BF-4FF0-885A-FF0E184CC4DF}" srcOrd="1" destOrd="0" presId="urn:microsoft.com/office/officeart/2005/8/layout/orgChart1"/>
    <dgm:cxn modelId="{1CDF3BE4-9C4C-4AA4-A049-D42A73EA77C9}" type="presParOf" srcId="{ED730B4C-57BF-4FF0-885A-FF0E184CC4DF}" destId="{05B7E8CE-9910-48A9-B09A-987E03CEAAB8}" srcOrd="0" destOrd="0" presId="urn:microsoft.com/office/officeart/2005/8/layout/orgChart1"/>
    <dgm:cxn modelId="{10E01AF6-9183-46E4-AD2A-739AF946670E}" type="presParOf" srcId="{05B7E8CE-9910-48A9-B09A-987E03CEAAB8}" destId="{9F5E2FF3-9F9A-407A-802C-9A48D55E868E}" srcOrd="0" destOrd="0" presId="urn:microsoft.com/office/officeart/2005/8/layout/orgChart1"/>
    <dgm:cxn modelId="{E798EF73-95FF-498B-A53D-CE7BAB3C3943}" type="presParOf" srcId="{05B7E8CE-9910-48A9-B09A-987E03CEAAB8}" destId="{C87183BA-F538-42AC-836E-116AB670C785}" srcOrd="1" destOrd="0" presId="urn:microsoft.com/office/officeart/2005/8/layout/orgChart1"/>
    <dgm:cxn modelId="{CC60DF35-EEE5-41EF-BBB1-1EEA072DAC2C}" type="presParOf" srcId="{ED730B4C-57BF-4FF0-885A-FF0E184CC4DF}" destId="{E1E9A319-99FF-435D-B0BB-23733D223126}" srcOrd="1" destOrd="0" presId="urn:microsoft.com/office/officeart/2005/8/layout/orgChart1"/>
    <dgm:cxn modelId="{C0BB92DC-CDCE-4049-A81D-07D80A60F539}" type="presParOf" srcId="{ED730B4C-57BF-4FF0-885A-FF0E184CC4DF}" destId="{1CF7B25C-A7BE-4D00-A5B3-FDF548D3D5A2}" srcOrd="2" destOrd="0" presId="urn:microsoft.com/office/officeart/2005/8/layout/orgChart1"/>
    <dgm:cxn modelId="{D9E7782A-174A-4B0D-BC40-1C9A1A92F8C3}" type="presParOf" srcId="{F011D5DD-F6C3-411A-A5D9-18708349C8D2}" destId="{9F5961DD-123F-47AB-AEFA-BDA8427B1161}" srcOrd="2" destOrd="0" presId="urn:microsoft.com/office/officeart/2005/8/layout/orgChart1"/>
    <dgm:cxn modelId="{9FC3506C-153B-4C71-8428-B9CAC5773D60}" type="presParOf" srcId="{F011D5DD-F6C3-411A-A5D9-18708349C8D2}" destId="{94CD7EB8-D888-4E91-9DE9-4157BC8BD591}" srcOrd="3" destOrd="0" presId="urn:microsoft.com/office/officeart/2005/8/layout/orgChart1"/>
    <dgm:cxn modelId="{7F80B646-71E7-48B2-B6DE-1372674F5C68}" type="presParOf" srcId="{94CD7EB8-D888-4E91-9DE9-4157BC8BD591}" destId="{E3DDB0AB-4E42-4AE5-85A6-5A2ECAABB28D}" srcOrd="0" destOrd="0" presId="urn:microsoft.com/office/officeart/2005/8/layout/orgChart1"/>
    <dgm:cxn modelId="{E022493D-D5A6-42E7-B1F7-801C3DAE8C86}" type="presParOf" srcId="{E3DDB0AB-4E42-4AE5-85A6-5A2ECAABB28D}" destId="{CCF3C26E-5C9B-4B63-B81D-205FA58DBB1E}" srcOrd="0" destOrd="0" presId="urn:microsoft.com/office/officeart/2005/8/layout/orgChart1"/>
    <dgm:cxn modelId="{8606D278-5D7F-4B57-958E-2FFD7079AFFE}" type="presParOf" srcId="{E3DDB0AB-4E42-4AE5-85A6-5A2ECAABB28D}" destId="{8C0B511A-DED6-4DA7-9751-0EE73FF12044}" srcOrd="1" destOrd="0" presId="urn:microsoft.com/office/officeart/2005/8/layout/orgChart1"/>
    <dgm:cxn modelId="{1C1D2EEA-FCCC-4283-97D4-C48E090091AD}" type="presParOf" srcId="{94CD7EB8-D888-4E91-9DE9-4157BC8BD591}" destId="{05F90CD1-25A2-4FC2-ADED-CAEC00734193}" srcOrd="1" destOrd="0" presId="urn:microsoft.com/office/officeart/2005/8/layout/orgChart1"/>
    <dgm:cxn modelId="{09C7E9BC-D2AB-469C-83EC-B72D78C60BA4}" type="presParOf" srcId="{94CD7EB8-D888-4E91-9DE9-4157BC8BD591}" destId="{0AEA20D2-415C-4B0A-9385-A6A2838E941E}" srcOrd="2" destOrd="0" presId="urn:microsoft.com/office/officeart/2005/8/layout/orgChart1"/>
    <dgm:cxn modelId="{7EBF67F7-1453-4C07-A94A-292021E910C9}" type="presParOf" srcId="{F011D5DD-F6C3-411A-A5D9-18708349C8D2}" destId="{FF548611-7A04-4D5C-AB90-6C10EAF7830B}" srcOrd="4" destOrd="0" presId="urn:microsoft.com/office/officeart/2005/8/layout/orgChart1"/>
    <dgm:cxn modelId="{113B262B-D35A-44ED-A12C-5F01AA0F96E3}" type="presParOf" srcId="{F011D5DD-F6C3-411A-A5D9-18708349C8D2}" destId="{8879D089-9988-41BF-9EEA-CC09E483A10C}" srcOrd="5" destOrd="0" presId="urn:microsoft.com/office/officeart/2005/8/layout/orgChart1"/>
    <dgm:cxn modelId="{35E3E957-2994-4544-ADE9-E9A68E9A581E}" type="presParOf" srcId="{8879D089-9988-41BF-9EEA-CC09E483A10C}" destId="{CAA4BCEC-6071-4C59-8663-A7820147C185}" srcOrd="0" destOrd="0" presId="urn:microsoft.com/office/officeart/2005/8/layout/orgChart1"/>
    <dgm:cxn modelId="{4419746E-FB89-4F0F-99C8-2335003640D8}" type="presParOf" srcId="{CAA4BCEC-6071-4C59-8663-A7820147C185}" destId="{3F4E5D73-5DC2-4BCC-A1A5-B6A6F7007855}" srcOrd="0" destOrd="0" presId="urn:microsoft.com/office/officeart/2005/8/layout/orgChart1"/>
    <dgm:cxn modelId="{4A129CBF-B9E8-4ECA-BC3B-498CCBE215EC}" type="presParOf" srcId="{CAA4BCEC-6071-4C59-8663-A7820147C185}" destId="{69D88AA3-307B-49BF-9ED7-708B8C390CE0}" srcOrd="1" destOrd="0" presId="urn:microsoft.com/office/officeart/2005/8/layout/orgChart1"/>
    <dgm:cxn modelId="{52BD6AE9-D937-455A-A931-527613F93B3A}" type="presParOf" srcId="{8879D089-9988-41BF-9EEA-CC09E483A10C}" destId="{AA839583-0EE1-4462-8F0D-C8137C294B58}" srcOrd="1" destOrd="0" presId="urn:microsoft.com/office/officeart/2005/8/layout/orgChart1"/>
    <dgm:cxn modelId="{9906CB08-BE25-4EF5-BF8F-9BF9109D46CF}" type="presParOf" srcId="{8879D089-9988-41BF-9EEA-CC09E483A10C}" destId="{71A6E25D-366C-47BA-A412-0FFEC5D309FF}" srcOrd="2" destOrd="0" presId="urn:microsoft.com/office/officeart/2005/8/layout/orgChart1"/>
    <dgm:cxn modelId="{5631BD6F-9E76-4AC4-93B1-089B15A2B2B6}" type="presParOf" srcId="{F011D5DD-F6C3-411A-A5D9-18708349C8D2}" destId="{093D9EE4-902B-42B1-903F-9D17AEAE5754}" srcOrd="6" destOrd="0" presId="urn:microsoft.com/office/officeart/2005/8/layout/orgChart1"/>
    <dgm:cxn modelId="{6C3AB938-F647-4831-97C5-8FD09CCCAC62}" type="presParOf" srcId="{F011D5DD-F6C3-411A-A5D9-18708349C8D2}" destId="{F851173D-0055-45A4-B0CC-275B646BD01F}" srcOrd="7" destOrd="0" presId="urn:microsoft.com/office/officeart/2005/8/layout/orgChart1"/>
    <dgm:cxn modelId="{F33AAFA9-A4F5-4833-9B25-D83EE680607A}" type="presParOf" srcId="{F851173D-0055-45A4-B0CC-275B646BD01F}" destId="{556EE189-6055-412B-9035-67382B0F19C3}" srcOrd="0" destOrd="0" presId="urn:microsoft.com/office/officeart/2005/8/layout/orgChart1"/>
    <dgm:cxn modelId="{93E49FAD-9C20-4F3E-A33E-BB216FF12AD6}" type="presParOf" srcId="{556EE189-6055-412B-9035-67382B0F19C3}" destId="{74AE5827-C96B-441F-9BC9-B935166B288B}" srcOrd="0" destOrd="0" presId="urn:microsoft.com/office/officeart/2005/8/layout/orgChart1"/>
    <dgm:cxn modelId="{44688077-EFAE-4AD0-99E2-669080ADE67A}" type="presParOf" srcId="{556EE189-6055-412B-9035-67382B0F19C3}" destId="{BC4DC5FE-2499-493E-A1F0-4610A1A6673E}" srcOrd="1" destOrd="0" presId="urn:microsoft.com/office/officeart/2005/8/layout/orgChart1"/>
    <dgm:cxn modelId="{A942735D-FA11-4018-A9BD-B314A8ACA348}" type="presParOf" srcId="{F851173D-0055-45A4-B0CC-275B646BD01F}" destId="{83387A82-367E-42B2-A22D-F62B321920EE}" srcOrd="1" destOrd="0" presId="urn:microsoft.com/office/officeart/2005/8/layout/orgChart1"/>
    <dgm:cxn modelId="{3FB276C8-E6B0-43FF-9741-383569AA0C9C}" type="presParOf" srcId="{F851173D-0055-45A4-B0CC-275B646BD01F}" destId="{DD301B44-5EF2-4C42-8C12-094CAD80E08F}" srcOrd="2" destOrd="0" presId="urn:microsoft.com/office/officeart/2005/8/layout/orgChart1"/>
    <dgm:cxn modelId="{D950FBBD-0619-4AB8-990B-CC56D77AFBA9}" type="presParOf" srcId="{F011D5DD-F6C3-411A-A5D9-18708349C8D2}" destId="{91AA311D-0247-49B6-AA05-F9026F6D91DB}" srcOrd="8" destOrd="0" presId="urn:microsoft.com/office/officeart/2005/8/layout/orgChart1"/>
    <dgm:cxn modelId="{534F6781-6806-4392-90AD-24A08B1DD6C7}" type="presParOf" srcId="{F011D5DD-F6C3-411A-A5D9-18708349C8D2}" destId="{3F55C6CF-88E0-4CCE-B99F-2642AC77954F}" srcOrd="9" destOrd="0" presId="urn:microsoft.com/office/officeart/2005/8/layout/orgChart1"/>
    <dgm:cxn modelId="{8BBDB4EA-2E04-488C-A0D3-C361D9BD1952}" type="presParOf" srcId="{3F55C6CF-88E0-4CCE-B99F-2642AC77954F}" destId="{9F431F68-0FF2-49E9-9D96-D316B5BB162F}" srcOrd="0" destOrd="0" presId="urn:microsoft.com/office/officeart/2005/8/layout/orgChart1"/>
    <dgm:cxn modelId="{FFC16BB8-937E-4554-B3CB-25203428CE61}" type="presParOf" srcId="{9F431F68-0FF2-49E9-9D96-D316B5BB162F}" destId="{BC934FE5-F520-44B9-98D6-4A2AF84EC165}" srcOrd="0" destOrd="0" presId="urn:microsoft.com/office/officeart/2005/8/layout/orgChart1"/>
    <dgm:cxn modelId="{C5D6A056-ADF8-4F79-846F-724DB547655C}" type="presParOf" srcId="{9F431F68-0FF2-49E9-9D96-D316B5BB162F}" destId="{EBDC3C4F-D88E-4114-8783-3CDC82B9BA4F}" srcOrd="1" destOrd="0" presId="urn:microsoft.com/office/officeart/2005/8/layout/orgChart1"/>
    <dgm:cxn modelId="{1F389304-DFC6-47C4-ABFF-BF3BB6EF121E}" type="presParOf" srcId="{3F55C6CF-88E0-4CCE-B99F-2642AC77954F}" destId="{FE2FF2CB-1C8A-469B-8634-56564D72CBBA}" srcOrd="1" destOrd="0" presId="urn:microsoft.com/office/officeart/2005/8/layout/orgChart1"/>
    <dgm:cxn modelId="{490ACAFF-F240-4C0B-B290-EA7063D50C8E}" type="presParOf" srcId="{3F55C6CF-88E0-4CCE-B99F-2642AC77954F}" destId="{D3AE4C6F-4B08-4E82-AD76-2ED78BB04EF8}" srcOrd="2" destOrd="0" presId="urn:microsoft.com/office/officeart/2005/8/layout/orgChart1"/>
    <dgm:cxn modelId="{B5D9C151-20BD-4821-BBAA-B852DFEECD96}" type="presParOf" srcId="{93931AFF-0406-4E02-A8A1-604A61379E6E}" destId="{53EA572E-2714-454B-85FF-F8127207D37E}" srcOrd="2" destOrd="0" presId="urn:microsoft.com/office/officeart/2005/8/layout/orgChart1"/>
    <dgm:cxn modelId="{F2B3D539-087D-4437-939B-BFCD62E16E48}" type="presParOf" srcId="{4552F86E-171D-4D57-BF2B-065C2DC6E063}" destId="{7811039B-9E53-4960-8749-6B2E2D304B8E}" srcOrd="10" destOrd="0" presId="urn:microsoft.com/office/officeart/2005/8/layout/orgChart1"/>
    <dgm:cxn modelId="{477551A8-E8C2-4EFF-BEFD-FAFD37A96CA8}" type="presParOf" srcId="{4552F86E-171D-4D57-BF2B-065C2DC6E063}" destId="{A243AD2A-0E24-43F6-B2E4-C79CBA15DC85}" srcOrd="11" destOrd="0" presId="urn:microsoft.com/office/officeart/2005/8/layout/orgChart1"/>
    <dgm:cxn modelId="{C633FB26-5147-441E-B776-ACF4F375C156}" type="presParOf" srcId="{A243AD2A-0E24-43F6-B2E4-C79CBA15DC85}" destId="{2FD347DE-613F-4639-814E-7E14A8AB24DF}" srcOrd="0" destOrd="0" presId="urn:microsoft.com/office/officeart/2005/8/layout/orgChart1"/>
    <dgm:cxn modelId="{A15DB63D-4565-49C4-9ABB-79A014BEE6C6}" type="presParOf" srcId="{2FD347DE-613F-4639-814E-7E14A8AB24DF}" destId="{3F307544-21A5-4422-A5D1-74880ECCFCCD}" srcOrd="0" destOrd="0" presId="urn:microsoft.com/office/officeart/2005/8/layout/orgChart1"/>
    <dgm:cxn modelId="{08C19F00-D5BB-400D-B9C6-F23AB63A7F19}" type="presParOf" srcId="{2FD347DE-613F-4639-814E-7E14A8AB24DF}" destId="{445C5C2F-B227-4FC7-BBA9-DFBEF59CCC7D}" srcOrd="1" destOrd="0" presId="urn:microsoft.com/office/officeart/2005/8/layout/orgChart1"/>
    <dgm:cxn modelId="{5A27CEB3-F6AB-4B91-811F-060215B35A8B}" type="presParOf" srcId="{A243AD2A-0E24-43F6-B2E4-C79CBA15DC85}" destId="{53001C23-EF2D-4819-8432-56B5CE8A33F2}" srcOrd="1" destOrd="0" presId="urn:microsoft.com/office/officeart/2005/8/layout/orgChart1"/>
    <dgm:cxn modelId="{45E1D6DC-FE70-49E6-BED5-E37719225411}" type="presParOf" srcId="{53001C23-EF2D-4819-8432-56B5CE8A33F2}" destId="{4C781013-32CE-447C-AA08-DCEBB0A1DCF6}" srcOrd="0" destOrd="0" presId="urn:microsoft.com/office/officeart/2005/8/layout/orgChart1"/>
    <dgm:cxn modelId="{E660E83A-656E-4BF9-807A-BBF16BFE6BD1}" type="presParOf" srcId="{53001C23-EF2D-4819-8432-56B5CE8A33F2}" destId="{C2A33BF7-7F70-4C85-86D6-2DB7C2BDE28B}" srcOrd="1" destOrd="0" presId="urn:microsoft.com/office/officeart/2005/8/layout/orgChart1"/>
    <dgm:cxn modelId="{6A8C1EDE-22A0-40CD-8E08-DF86059A8C02}" type="presParOf" srcId="{C2A33BF7-7F70-4C85-86D6-2DB7C2BDE28B}" destId="{DAF12B2A-AA31-49E8-A48F-D87A70829BC9}" srcOrd="0" destOrd="0" presId="urn:microsoft.com/office/officeart/2005/8/layout/orgChart1"/>
    <dgm:cxn modelId="{586B7AB9-F16B-4F46-8F5B-8B1B178763A5}" type="presParOf" srcId="{DAF12B2A-AA31-49E8-A48F-D87A70829BC9}" destId="{A4223829-5044-4B88-AC56-89DA2CFB0ED7}" srcOrd="0" destOrd="0" presId="urn:microsoft.com/office/officeart/2005/8/layout/orgChart1"/>
    <dgm:cxn modelId="{E743FD3C-42CE-45F5-983C-46C719EC8277}" type="presParOf" srcId="{DAF12B2A-AA31-49E8-A48F-D87A70829BC9}" destId="{9FEE204C-6393-4A1E-B1AC-2BC944D38C48}" srcOrd="1" destOrd="0" presId="urn:microsoft.com/office/officeart/2005/8/layout/orgChart1"/>
    <dgm:cxn modelId="{DBB99855-61BC-4E21-B6A1-D81DCB7D2F31}" type="presParOf" srcId="{C2A33BF7-7F70-4C85-86D6-2DB7C2BDE28B}" destId="{08518E3C-A867-4E20-8FB8-9D0D93DBB4BB}" srcOrd="1" destOrd="0" presId="urn:microsoft.com/office/officeart/2005/8/layout/orgChart1"/>
    <dgm:cxn modelId="{0D44D635-01FE-4988-BFAC-CAF7F08AF338}" type="presParOf" srcId="{C2A33BF7-7F70-4C85-86D6-2DB7C2BDE28B}" destId="{793BEEF6-2EA0-4BC6-A45F-223CA36712A3}" srcOrd="2" destOrd="0" presId="urn:microsoft.com/office/officeart/2005/8/layout/orgChart1"/>
    <dgm:cxn modelId="{133DBD80-123A-4B4C-9159-9BF8CB9E2AAB}" type="presParOf" srcId="{53001C23-EF2D-4819-8432-56B5CE8A33F2}" destId="{1013006C-A77A-45D7-9036-2AEAF4563F99}" srcOrd="2" destOrd="0" presId="urn:microsoft.com/office/officeart/2005/8/layout/orgChart1"/>
    <dgm:cxn modelId="{6E1420A8-BFAE-4970-9286-A109CACA56F3}" type="presParOf" srcId="{53001C23-EF2D-4819-8432-56B5CE8A33F2}" destId="{3B36212F-B54D-42B9-B651-BFD8789322EF}" srcOrd="3" destOrd="0" presId="urn:microsoft.com/office/officeart/2005/8/layout/orgChart1"/>
    <dgm:cxn modelId="{CE014FAB-7DD0-45E3-B47A-BDD46A153ADE}" type="presParOf" srcId="{3B36212F-B54D-42B9-B651-BFD8789322EF}" destId="{CC600625-637B-499C-A414-B4D962B5C69C}" srcOrd="0" destOrd="0" presId="urn:microsoft.com/office/officeart/2005/8/layout/orgChart1"/>
    <dgm:cxn modelId="{42E073A0-72AB-4891-87E0-AE86B4E19306}" type="presParOf" srcId="{CC600625-637B-499C-A414-B4D962B5C69C}" destId="{FE38CAAC-AA54-4D84-A304-95922ABE977E}" srcOrd="0" destOrd="0" presId="urn:microsoft.com/office/officeart/2005/8/layout/orgChart1"/>
    <dgm:cxn modelId="{460C36B0-91E7-4A34-B50E-D45A35B19ACA}" type="presParOf" srcId="{CC600625-637B-499C-A414-B4D962B5C69C}" destId="{9A7B6B05-6545-4EEC-98B4-A0D9718014D7}" srcOrd="1" destOrd="0" presId="urn:microsoft.com/office/officeart/2005/8/layout/orgChart1"/>
    <dgm:cxn modelId="{CEB0EBE0-D60F-4F41-94DC-C76E2663358E}" type="presParOf" srcId="{3B36212F-B54D-42B9-B651-BFD8789322EF}" destId="{901D6DBF-2634-4EAF-941F-497908775622}" srcOrd="1" destOrd="0" presId="urn:microsoft.com/office/officeart/2005/8/layout/orgChart1"/>
    <dgm:cxn modelId="{66E4320F-B281-4EFB-A0BD-C3865E971ABB}" type="presParOf" srcId="{3B36212F-B54D-42B9-B651-BFD8789322EF}" destId="{6E44B24D-5DC9-4EF7-ACBB-3F7B8E677FF8}" srcOrd="2" destOrd="0" presId="urn:microsoft.com/office/officeart/2005/8/layout/orgChart1"/>
    <dgm:cxn modelId="{95DA880D-88F9-494C-B1A1-BCBFAC5EB84B}" type="presParOf" srcId="{53001C23-EF2D-4819-8432-56B5CE8A33F2}" destId="{E9DDA913-6DFF-465D-B32F-3C74AD071404}" srcOrd="4" destOrd="0" presId="urn:microsoft.com/office/officeart/2005/8/layout/orgChart1"/>
    <dgm:cxn modelId="{9FFE6FAB-3E37-4DA7-B9A7-57CD7BED4B64}" type="presParOf" srcId="{53001C23-EF2D-4819-8432-56B5CE8A33F2}" destId="{1AA89AD3-1412-47DE-941D-2562EC29382A}" srcOrd="5" destOrd="0" presId="urn:microsoft.com/office/officeart/2005/8/layout/orgChart1"/>
    <dgm:cxn modelId="{36B96297-96F0-4D02-8F76-F8B110AB7516}" type="presParOf" srcId="{1AA89AD3-1412-47DE-941D-2562EC29382A}" destId="{4C0AFF40-0C0F-4830-9891-BBFCCF1EFEC8}" srcOrd="0" destOrd="0" presId="urn:microsoft.com/office/officeart/2005/8/layout/orgChart1"/>
    <dgm:cxn modelId="{62A0904D-5889-4958-8206-9A584C28AE73}" type="presParOf" srcId="{4C0AFF40-0C0F-4830-9891-BBFCCF1EFEC8}" destId="{3B93419F-0BBF-4DE2-A032-BD9C95389D13}" srcOrd="0" destOrd="0" presId="urn:microsoft.com/office/officeart/2005/8/layout/orgChart1"/>
    <dgm:cxn modelId="{C8C11221-D860-485F-A5DA-D14C3E13FDCA}" type="presParOf" srcId="{4C0AFF40-0C0F-4830-9891-BBFCCF1EFEC8}" destId="{6734EBF9-16B9-4F1E-84D5-B5803082FFC4}" srcOrd="1" destOrd="0" presId="urn:microsoft.com/office/officeart/2005/8/layout/orgChart1"/>
    <dgm:cxn modelId="{4F732962-B26C-40D1-9551-492286E04051}" type="presParOf" srcId="{1AA89AD3-1412-47DE-941D-2562EC29382A}" destId="{E584C79E-819D-4002-AD85-9DF7A1C681B8}" srcOrd="1" destOrd="0" presId="urn:microsoft.com/office/officeart/2005/8/layout/orgChart1"/>
    <dgm:cxn modelId="{EF49EF17-38A8-4DE2-AD4A-59CD6E0ABB72}" type="presParOf" srcId="{1AA89AD3-1412-47DE-941D-2562EC29382A}" destId="{368D5819-5FEA-4BAA-AE31-FF757C0D8499}" srcOrd="2" destOrd="0" presId="urn:microsoft.com/office/officeart/2005/8/layout/orgChart1"/>
    <dgm:cxn modelId="{0FC03E4F-2A91-4D75-A855-D471D585442D}" type="presParOf" srcId="{A243AD2A-0E24-43F6-B2E4-C79CBA15DC85}" destId="{A7FB9599-C4C3-47F9-8C74-7F967DBA864F}" srcOrd="2" destOrd="0" presId="urn:microsoft.com/office/officeart/2005/8/layout/orgChart1"/>
    <dgm:cxn modelId="{00F2CBC5-4FEA-4D07-9CAD-ACB5EEF29048}" type="presParOf" srcId="{361B81A5-9CA1-4DBD-9B47-64E00DB700FB}" destId="{53CFD400-2BCD-4F65-AB9D-EA2837642738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cycle4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E4B4F9F4-D240-4EF9-8A3E-0060574F32F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omercial : Prospección y Venta</a:t>
          </a: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929002E-3CFB-46F1-9DED-701E6BDDBBE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Jhonatan Flores : Líder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A0D1D621-DA49-4B24-9D22-997E3493B32D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ntonio Tolosa : Capacitación</a:t>
          </a:r>
        </a:p>
      </dgm:t>
    </dgm:pt>
    <dgm:pt modelId="{E3ECB5E8-A935-4CFC-8698-EA5FF877B4E3}" type="par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AEA91CA-D5DB-4CEF-B363-98AB51DD8415}" type="sib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3918B2B-A56B-49E5-A99E-FB8B8DD6201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riana : Soporte</a:t>
          </a:r>
        </a:p>
      </dgm:t>
    </dgm:pt>
    <dgm:pt modelId="{771A4284-DC55-4997-B76F-6C9FAAC618D2}" type="par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4DCBC2E-A508-4B64-981D-DA191D2B4917}" type="sib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851D966-4FFE-4248-A9C1-6453E25ADC83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Operaciones : Auspiciadores y Subscriptores</a:t>
          </a:r>
        </a:p>
      </dgm:t>
    </dgm:pt>
    <dgm:pt modelId="{5E16AFD8-F9BA-4FD1-A09E-BF3EB0578E8E}" type="par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299E59F-7CA7-4FC3-AA01-D1FBB0859174}" type="sib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86C129E-19BA-42F5-AD85-4C9625721C2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rmen Abad : Líder </a:t>
          </a:r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C87F9F4-5C07-4BCA-92AB-A2A5B4F9543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sarrollo : Sistema captura datos APP y Web</a:t>
          </a:r>
        </a:p>
      </dgm:t>
    </dgm:pt>
    <dgm:pt modelId="{C90170B8-5182-4F3F-A080-9441DEDFD996}" type="par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EBC2197-080B-4783-816B-CDB3942CA110}" type="sib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E316323-377A-46B8-A4D4-E479C1061327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ata : Carga de Datos y Reportes PBI</a:t>
          </a:r>
        </a:p>
      </dgm:t>
    </dgm:pt>
    <dgm:pt modelId="{5C5C39FD-74EE-486F-890E-28A1DAAF0B24}" type="par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C408D-DF0A-4D67-9B15-5D6A7CD7F7C3}" type="sib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852CB3-B9A0-47C4-B2D3-60883BCA1CA1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Luis Vasquez :Líder</a:t>
          </a:r>
        </a:p>
      </dgm:t>
    </dgm:pt>
    <dgm:pt modelId="{EDBB7800-6DDB-4558-8FC8-C0BBF127EE1E}" type="par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165C50-7E86-4743-8D75-7CCB095E30B2}" type="sib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60B8BA3-9BEE-40EC-9021-F57BFDFD9DE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ilvestre Acosta : Líder</a:t>
          </a:r>
        </a:p>
      </dgm:t>
    </dgm:pt>
    <dgm:pt modelId="{9DF11160-0D78-4317-8393-A4EB775A8F07}" type="par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772E835-DAF3-4BE6-BFB5-21B108368A1E}" type="sib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B3F148-D3AB-4DE9-8484-36EFA907849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Pamela Rivas :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Account</a:t>
          </a:r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 Manager</a:t>
          </a:r>
        </a:p>
      </dgm:t>
    </dgm:pt>
    <dgm:pt modelId="{CD72EACC-C299-4AEC-8B2F-673F67F78823}" type="par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8EC97FF-47A0-4996-A0CE-CE0686EDB039}" type="sib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5EC8EC5-E027-4459-81C0-DE7CCE6DEEA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Veronica : Prospección</a:t>
          </a:r>
        </a:p>
      </dgm:t>
    </dgm:pt>
    <dgm:pt modelId="{37BC18F4-84E6-4167-B9D4-7304DBED905A}" type="par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2572AD4-9071-4727-9D55-DFB358A543CC}" type="sib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1144811-3E6A-4B10-9D28-C2C94578B690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Kennedy Luna : Carga y Reportes</a:t>
          </a:r>
        </a:p>
      </dgm:t>
    </dgm:pt>
    <dgm:pt modelId="{167D2452-361D-4D97-84E5-9F38CACAD73B}" type="par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A2F5A53-F115-4B26-96B4-1C6FDDD0F286}" type="sib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799AD75-C80E-4271-93C2-34DA1D23ED4F}">
      <dgm:prSet phldrT="[Texto]" custT="1"/>
      <dgm:spPr/>
      <dgm:t>
        <a:bodyPr/>
        <a:lstStyle/>
        <a:p>
          <a:pPr algn="ctr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D2A9084-604E-43CF-A4CF-72DC21EA2934}" type="par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1E0072C-1879-43C0-90AD-12BCFEA3EB33}" type="sib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4A5E8B2-6FE7-4443-B27B-C5216D0E330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aid : Soporte</a:t>
          </a:r>
        </a:p>
      </dgm:t>
    </dgm:pt>
    <dgm:pt modelId="{D6212ED3-FE7B-42BF-B63D-EF40702AC8A8}" type="par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D427D6D-9E2A-4FE7-85F7-EED83BBF7FC5}" type="sib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BDE4CEE4-C47C-45EC-81AD-A1BC60FDF352}" type="pres">
      <dgm:prSet presAssocID="{7C456F81-39E8-4A49-BB92-6D9710B9C0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62491048-5F76-467B-AE99-5133D1177474}" type="pres">
      <dgm:prSet presAssocID="{7C456F81-39E8-4A49-BB92-6D9710B9C081}" presName="children" presStyleCnt="0"/>
      <dgm:spPr/>
    </dgm:pt>
    <dgm:pt modelId="{6E853767-6E31-4444-AF02-7B2CBE101B8E}" type="pres">
      <dgm:prSet presAssocID="{7C456F81-39E8-4A49-BB92-6D9710B9C081}" presName="child1group" presStyleCnt="0"/>
      <dgm:spPr/>
    </dgm:pt>
    <dgm:pt modelId="{C29649C1-A21A-4DA3-B338-7BCE30F32902}" type="pres">
      <dgm:prSet presAssocID="{7C456F81-39E8-4A49-BB92-6D9710B9C081}" presName="child1" presStyleLbl="bgAcc1" presStyleIdx="0" presStyleCnt="4" custScaleX="124258"/>
      <dgm:spPr/>
    </dgm:pt>
    <dgm:pt modelId="{3296EC63-F60C-416C-A940-CC7B10F00735}" type="pres">
      <dgm:prSet presAssocID="{7C456F81-39E8-4A49-BB92-6D9710B9C081}" presName="child1Text" presStyleLbl="bgAcc1" presStyleIdx="0" presStyleCnt="4">
        <dgm:presLayoutVars>
          <dgm:bulletEnabled val="1"/>
        </dgm:presLayoutVars>
      </dgm:prSet>
      <dgm:spPr/>
    </dgm:pt>
    <dgm:pt modelId="{8303CC75-F15F-4FEE-ACBD-EA591A19E76D}" type="pres">
      <dgm:prSet presAssocID="{7C456F81-39E8-4A49-BB92-6D9710B9C081}" presName="child2group" presStyleCnt="0"/>
      <dgm:spPr/>
    </dgm:pt>
    <dgm:pt modelId="{2FE30161-5C60-466C-9BF5-CEFA31F54EA4}" type="pres">
      <dgm:prSet presAssocID="{7C456F81-39E8-4A49-BB92-6D9710B9C081}" presName="child2" presStyleLbl="bgAcc1" presStyleIdx="1" presStyleCnt="4" custScaleX="124258"/>
      <dgm:spPr/>
    </dgm:pt>
    <dgm:pt modelId="{0490E39C-4561-4FD8-A041-E2CE221E0201}" type="pres">
      <dgm:prSet presAssocID="{7C456F81-39E8-4A49-BB92-6D9710B9C081}" presName="child2Text" presStyleLbl="bgAcc1" presStyleIdx="1" presStyleCnt="4">
        <dgm:presLayoutVars>
          <dgm:bulletEnabled val="1"/>
        </dgm:presLayoutVars>
      </dgm:prSet>
      <dgm:spPr/>
    </dgm:pt>
    <dgm:pt modelId="{54800330-ABE4-45B8-A995-4267527DC675}" type="pres">
      <dgm:prSet presAssocID="{7C456F81-39E8-4A49-BB92-6D9710B9C081}" presName="child3group" presStyleCnt="0"/>
      <dgm:spPr/>
    </dgm:pt>
    <dgm:pt modelId="{88A41F62-FAE9-43B9-9163-89540FD6DEC1}" type="pres">
      <dgm:prSet presAssocID="{7C456F81-39E8-4A49-BB92-6D9710B9C081}" presName="child3" presStyleLbl="bgAcc1" presStyleIdx="2" presStyleCnt="4" custScaleX="124258"/>
      <dgm:spPr/>
    </dgm:pt>
    <dgm:pt modelId="{F880890C-E0DB-4561-89DF-2CC0FF9360F6}" type="pres">
      <dgm:prSet presAssocID="{7C456F81-39E8-4A49-BB92-6D9710B9C081}" presName="child3Text" presStyleLbl="bgAcc1" presStyleIdx="2" presStyleCnt="4">
        <dgm:presLayoutVars>
          <dgm:bulletEnabled val="1"/>
        </dgm:presLayoutVars>
      </dgm:prSet>
      <dgm:spPr/>
    </dgm:pt>
    <dgm:pt modelId="{77607CE4-FF30-4062-968C-144ED4541439}" type="pres">
      <dgm:prSet presAssocID="{7C456F81-39E8-4A49-BB92-6D9710B9C081}" presName="child4group" presStyleCnt="0"/>
      <dgm:spPr/>
    </dgm:pt>
    <dgm:pt modelId="{B4C96BEC-98F9-4EC5-AC0B-14E5BD424531}" type="pres">
      <dgm:prSet presAssocID="{7C456F81-39E8-4A49-BB92-6D9710B9C081}" presName="child4" presStyleLbl="bgAcc1" presStyleIdx="3" presStyleCnt="4" custScaleX="124258"/>
      <dgm:spPr/>
    </dgm:pt>
    <dgm:pt modelId="{2D81F979-A773-416C-BD04-9CD94B0F524A}" type="pres">
      <dgm:prSet presAssocID="{7C456F81-39E8-4A49-BB92-6D9710B9C081}" presName="child4Text" presStyleLbl="bgAcc1" presStyleIdx="3" presStyleCnt="4">
        <dgm:presLayoutVars>
          <dgm:bulletEnabled val="1"/>
        </dgm:presLayoutVars>
      </dgm:prSet>
      <dgm:spPr/>
    </dgm:pt>
    <dgm:pt modelId="{FDE757A6-8470-4F81-B7A1-D7B39E4E607E}" type="pres">
      <dgm:prSet presAssocID="{7C456F81-39E8-4A49-BB92-6D9710B9C081}" presName="childPlaceholder" presStyleCnt="0"/>
      <dgm:spPr/>
    </dgm:pt>
    <dgm:pt modelId="{384C7EE9-0388-4DA1-BD85-966B9DA5D161}" type="pres">
      <dgm:prSet presAssocID="{7C456F81-39E8-4A49-BB92-6D9710B9C081}" presName="circle" presStyleCnt="0"/>
      <dgm:spPr/>
    </dgm:pt>
    <dgm:pt modelId="{048FFB3B-5C29-49EB-AAB3-FDFCE6B26557}" type="pres">
      <dgm:prSet presAssocID="{7C456F81-39E8-4A49-BB92-6D9710B9C0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59459A3E-2B79-4498-9275-243D04AC410B}" type="pres">
      <dgm:prSet presAssocID="{7C456F81-39E8-4A49-BB92-6D9710B9C0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A3B16A58-2DDC-4772-A2E5-036D308AB6DA}" type="pres">
      <dgm:prSet presAssocID="{7C456F81-39E8-4A49-BB92-6D9710B9C0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075A8DE5-85A6-4DDB-8683-6AC871D00272}" type="pres">
      <dgm:prSet presAssocID="{7C456F81-39E8-4A49-BB92-6D9710B9C0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C4F9DF83-19E7-4294-9EAB-6E3226948A20}" type="pres">
      <dgm:prSet presAssocID="{7C456F81-39E8-4A49-BB92-6D9710B9C081}" presName="quadrantPlaceholder" presStyleCnt="0"/>
      <dgm:spPr/>
    </dgm:pt>
    <dgm:pt modelId="{2934D2CC-D2D2-4613-8CAD-C85CD795A0B6}" type="pres">
      <dgm:prSet presAssocID="{7C456F81-39E8-4A49-BB92-6D9710B9C081}" presName="center1" presStyleLbl="fgShp" presStyleIdx="0" presStyleCnt="2"/>
      <dgm:spPr/>
    </dgm:pt>
    <dgm:pt modelId="{9212ADAD-FAEF-411D-AFA9-FF42E3FF5D3C}" type="pres">
      <dgm:prSet presAssocID="{7C456F81-39E8-4A49-BB92-6D9710B9C081}" presName="center2" presStyleLbl="fgShp" presStyleIdx="1" presStyleCnt="2"/>
      <dgm:spPr/>
    </dgm:pt>
  </dgm:ptLst>
  <dgm:cxnLst>
    <dgm:cxn modelId="{E2FFA002-D3DA-4E19-BFE4-8324C4824874}" type="presOf" srcId="{8799AD75-C80E-4271-93C2-34DA1D23ED4F}" destId="{F880890C-E0DB-4561-89DF-2CC0FF9360F6}" srcOrd="1" destOrd="1" presId="urn:microsoft.com/office/officeart/2005/8/layout/cycle4"/>
    <dgm:cxn modelId="{E9B8BA10-FC82-4C8E-8BE9-C2E69019A018}" srcId="{8C87F9F4-5C07-4BCA-92AB-A2A5B4F95435}" destId="{8799AD75-C80E-4271-93C2-34DA1D23ED4F}" srcOrd="1" destOrd="0" parTransId="{1D2A9084-604E-43CF-A4CF-72DC21EA2934}" sibTransId="{71E0072C-1879-43C0-90AD-12BCFEA3EB33}"/>
    <dgm:cxn modelId="{BDBF4014-9DB3-4E4E-B72A-454B7E2B3097}" srcId="{7C456F81-39E8-4A49-BB92-6D9710B9C081}" destId="{D851D966-4FFE-4248-A9C1-6453E25ADC83}" srcOrd="1" destOrd="0" parTransId="{5E16AFD8-F9BA-4FD1-A09E-BF3EB0578E8E}" sibTransId="{F299E59F-7CA7-4FC3-AA01-D1FBB0859174}"/>
    <dgm:cxn modelId="{5C659416-6146-45A4-AADB-EFB57F07326C}" type="presOf" srcId="{0929002E-3CFB-46F1-9DED-701E6BDDBBE5}" destId="{0490E39C-4561-4FD8-A041-E2CE221E0201}" srcOrd="1" destOrd="0" presId="urn:microsoft.com/office/officeart/2005/8/layout/cycle4"/>
    <dgm:cxn modelId="{C5946918-E62E-4BD7-9743-80867A6A281E}" srcId="{7C456F81-39E8-4A49-BB92-6D9710B9C081}" destId="{8C87F9F4-5C07-4BCA-92AB-A2A5B4F95435}" srcOrd="2" destOrd="0" parTransId="{C90170B8-5182-4F3F-A080-9441DEDFD996}" sibTransId="{9EBC2197-080B-4783-816B-CDB3942CA110}"/>
    <dgm:cxn modelId="{F89F1331-D109-4373-A2B7-B6DA43A08761}" type="presOf" srcId="{0929002E-3CFB-46F1-9DED-701E6BDDBBE5}" destId="{2FE30161-5C60-466C-9BF5-CEFA31F54EA4}" srcOrd="0" destOrd="0" presId="urn:microsoft.com/office/officeart/2005/8/layout/cycle4"/>
    <dgm:cxn modelId="{49B57D5C-A5FF-4D23-9CF2-5C4B0A2F8EF5}" type="presOf" srcId="{01144811-3E6A-4B10-9D28-C2C94578B690}" destId="{B4C96BEC-98F9-4EC5-AC0B-14E5BD424531}" srcOrd="0" destOrd="1" presId="urn:microsoft.com/office/officeart/2005/8/layout/cycle4"/>
    <dgm:cxn modelId="{C6B91D5D-2F02-4486-AE39-C44EEC75DAC4}" type="presOf" srcId="{3E852CB3-B9A0-47C4-B2D3-60883BCA1CA1}" destId="{F880890C-E0DB-4561-89DF-2CC0FF9360F6}" srcOrd="1" destOrd="0" presId="urn:microsoft.com/office/officeart/2005/8/layout/cycle4"/>
    <dgm:cxn modelId="{9E9AA05F-1AE7-427C-9081-FB058A3450EF}" srcId="{D851D966-4FFE-4248-A9C1-6453E25ADC83}" destId="{0929002E-3CFB-46F1-9DED-701E6BDDBBE5}" srcOrd="0" destOrd="0" parTransId="{AD8E2242-6023-4FA1-A34B-BE65322F502E}" sibTransId="{0D4F85F6-A19F-4209-A6A7-43F65AB97D31}"/>
    <dgm:cxn modelId="{DEDDF041-E200-4C34-833F-58439D2B837F}" srcId="{E4B4F9F4-D240-4EF9-8A3E-0060574F32FE}" destId="{C0B3F148-D3AB-4DE9-8484-36EFA907849C}" srcOrd="1" destOrd="0" parTransId="{CD72EACC-C299-4AEC-8B2F-673F67F78823}" sibTransId="{98EC97FF-47A0-4996-A0CE-CE0686EDB039}"/>
    <dgm:cxn modelId="{0ACBF245-0C3D-423C-8A03-D0F9254C8A0B}" type="presOf" srcId="{33918B2B-A56B-49E5-A99E-FB8B8DD62018}" destId="{0490E39C-4561-4FD8-A041-E2CE221E0201}" srcOrd="1" destOrd="2" presId="urn:microsoft.com/office/officeart/2005/8/layout/cycle4"/>
    <dgm:cxn modelId="{77D51667-E4BE-4C05-BBC2-001B239831BB}" type="presOf" srcId="{C0B3F148-D3AB-4DE9-8484-36EFA907849C}" destId="{C29649C1-A21A-4DA3-B338-7BCE30F32902}" srcOrd="0" destOrd="1" presId="urn:microsoft.com/office/officeart/2005/8/layout/cycle4"/>
    <dgm:cxn modelId="{0546C747-6BC3-40AF-B2A3-D7C83A0FBE80}" srcId="{D851D966-4FFE-4248-A9C1-6453E25ADC83}" destId="{33918B2B-A56B-49E5-A99E-FB8B8DD62018}" srcOrd="2" destOrd="0" parTransId="{771A4284-DC55-4997-B76F-6C9FAAC618D2}" sibTransId="{14DCBC2E-A508-4B64-981D-DA191D2B4917}"/>
    <dgm:cxn modelId="{D00FD767-3F81-4DF4-AC2F-161C7620830B}" type="presOf" srcId="{5E316323-377A-46B8-A4D4-E479C1061327}" destId="{075A8DE5-85A6-4DDB-8683-6AC871D00272}" srcOrd="0" destOrd="0" presId="urn:microsoft.com/office/officeart/2005/8/layout/cycle4"/>
    <dgm:cxn modelId="{77E50D6C-6018-4AA1-8160-17809E98F736}" type="presOf" srcId="{C0B3F148-D3AB-4DE9-8484-36EFA907849C}" destId="{3296EC63-F60C-416C-A940-CC7B10F00735}" srcOrd="1" destOrd="1" presId="urn:microsoft.com/office/officeart/2005/8/layout/cycle4"/>
    <dgm:cxn modelId="{AEEF4773-4E57-4AB2-9B98-C87F214302E4}" type="presOf" srcId="{360B8BA3-9BEE-40EC-9021-F57BFDFD9DE8}" destId="{B4C96BEC-98F9-4EC5-AC0B-14E5BD424531}" srcOrd="0" destOrd="0" presId="urn:microsoft.com/office/officeart/2005/8/layout/cycle4"/>
    <dgm:cxn modelId="{88BA1856-43D6-4E0F-82A9-28F977ABF6E3}" type="presOf" srcId="{8799AD75-C80E-4271-93C2-34DA1D23ED4F}" destId="{88A41F62-FAE9-43B9-9163-89540FD6DEC1}" srcOrd="0" destOrd="1" presId="urn:microsoft.com/office/officeart/2005/8/layout/cycle4"/>
    <dgm:cxn modelId="{185B4058-5DD3-4244-B8F2-0806394C2487}" type="presOf" srcId="{3E852CB3-B9A0-47C4-B2D3-60883BCA1CA1}" destId="{88A41F62-FAE9-43B9-9163-89540FD6DEC1}" srcOrd="0" destOrd="0" presId="urn:microsoft.com/office/officeart/2005/8/layout/cycle4"/>
    <dgm:cxn modelId="{9BA0547A-48AD-4932-A58B-192AAA1E39E1}" type="presOf" srcId="{A0D1D621-DA49-4B24-9D22-997E3493B32D}" destId="{2FE30161-5C60-466C-9BF5-CEFA31F54EA4}" srcOrd="0" destOrd="1" presId="urn:microsoft.com/office/officeart/2005/8/layout/cycle4"/>
    <dgm:cxn modelId="{8A6CEB88-60F0-411A-8F28-6047C99099BC}" type="presOf" srcId="{C4A5E8B2-6FE7-4443-B27B-C5216D0E330C}" destId="{B4C96BEC-98F9-4EC5-AC0B-14E5BD424531}" srcOrd="0" destOrd="2" presId="urn:microsoft.com/office/officeart/2005/8/layout/cycle4"/>
    <dgm:cxn modelId="{63852A8A-B292-4273-B79D-57753CB8F4E0}" type="presOf" srcId="{8C87F9F4-5C07-4BCA-92AB-A2A5B4F95435}" destId="{A3B16A58-2DDC-4772-A2E5-036D308AB6DA}" srcOrd="0" destOrd="0" presId="urn:microsoft.com/office/officeart/2005/8/layout/cycle4"/>
    <dgm:cxn modelId="{AB7CF58C-85DE-4AF0-A43A-CC41F8517DAD}" type="presOf" srcId="{F5EC8EC5-E027-4459-81C0-DE7CCE6DEEA5}" destId="{3296EC63-F60C-416C-A940-CC7B10F00735}" srcOrd="1" destOrd="2" presId="urn:microsoft.com/office/officeart/2005/8/layout/cycle4"/>
    <dgm:cxn modelId="{AA2F7394-5781-4D49-BD1F-B45EF59D4D50}" type="presOf" srcId="{486C129E-19BA-42F5-AD85-4C9625721C2E}" destId="{3296EC63-F60C-416C-A940-CC7B10F00735}" srcOrd="1" destOrd="0" presId="urn:microsoft.com/office/officeart/2005/8/layout/cycle4"/>
    <dgm:cxn modelId="{0F6D689F-47EE-445D-A56A-1B8D17887A6A}" type="presOf" srcId="{F5EC8EC5-E027-4459-81C0-DE7CCE6DEEA5}" destId="{C29649C1-A21A-4DA3-B338-7BCE30F32902}" srcOrd="0" destOrd="2" presId="urn:microsoft.com/office/officeart/2005/8/layout/cycle4"/>
    <dgm:cxn modelId="{85DB93A1-ED97-45FE-8052-2D63B4280727}" type="presOf" srcId="{A0D1D621-DA49-4B24-9D22-997E3493B32D}" destId="{0490E39C-4561-4FD8-A041-E2CE221E0201}" srcOrd="1" destOrd="1" presId="urn:microsoft.com/office/officeart/2005/8/layout/cycle4"/>
    <dgm:cxn modelId="{BF6CEEA7-B79C-49B6-BBCB-C2F35D55C285}" srcId="{8C87F9F4-5C07-4BCA-92AB-A2A5B4F95435}" destId="{3E852CB3-B9A0-47C4-B2D3-60883BCA1CA1}" srcOrd="0" destOrd="0" parTransId="{EDBB7800-6DDB-4558-8FC8-C0BBF127EE1E}" sibTransId="{3E165C50-7E86-4743-8D75-7CCB095E30B2}"/>
    <dgm:cxn modelId="{BADC30B5-6E31-4F3A-AC0D-69D148CCD2ED}" srcId="{E4B4F9F4-D240-4EF9-8A3E-0060574F32FE}" destId="{F5EC8EC5-E027-4459-81C0-DE7CCE6DEEA5}" srcOrd="2" destOrd="0" parTransId="{37BC18F4-84E6-4167-B9D4-7304DBED905A}" sibTransId="{72572AD4-9071-4727-9D55-DFB358A543CC}"/>
    <dgm:cxn modelId="{F659BFB7-D9D5-4C7B-8DD5-EB42490C1C74}" srcId="{5E316323-377A-46B8-A4D4-E479C1061327}" destId="{360B8BA3-9BEE-40EC-9021-F57BFDFD9DE8}" srcOrd="0" destOrd="0" parTransId="{9DF11160-0D78-4317-8393-A4EB775A8F07}" sibTransId="{9772E835-DAF3-4BE6-BFB5-21B108368A1E}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EA01F1BE-F7A3-412C-9F55-B39BC855A8B3}" srcId="{7C456F81-39E8-4A49-BB92-6D9710B9C081}" destId="{E4B4F9F4-D240-4EF9-8A3E-0060574F32FE}" srcOrd="0" destOrd="0" parTransId="{686EE54E-2CC1-4ABF-B221-047AC1ECAA71}" sibTransId="{EC5EB5C7-F1A2-4FE5-A33B-B7B5FE53412C}"/>
    <dgm:cxn modelId="{9F95DCC0-B782-4921-8181-F4FE9DE96144}" type="presOf" srcId="{C4A5E8B2-6FE7-4443-B27B-C5216D0E330C}" destId="{2D81F979-A773-416C-BD04-9CD94B0F524A}" srcOrd="1" destOrd="2" presId="urn:microsoft.com/office/officeart/2005/8/layout/cycle4"/>
    <dgm:cxn modelId="{B4543BC5-96BE-4064-8A5A-4FEDB1F2AFEA}" type="presOf" srcId="{01144811-3E6A-4B10-9D28-C2C94578B690}" destId="{2D81F979-A773-416C-BD04-9CD94B0F524A}" srcOrd="1" destOrd="1" presId="urn:microsoft.com/office/officeart/2005/8/layout/cycle4"/>
    <dgm:cxn modelId="{F92726C7-A480-4260-974E-7E42349A7D00}" type="presOf" srcId="{33918B2B-A56B-49E5-A99E-FB8B8DD62018}" destId="{2FE30161-5C60-466C-9BF5-CEFA31F54EA4}" srcOrd="0" destOrd="2" presId="urn:microsoft.com/office/officeart/2005/8/layout/cycle4"/>
    <dgm:cxn modelId="{ABA46FC7-1D6F-48CE-A4D1-E536C9AE4690}" srcId="{5E316323-377A-46B8-A4D4-E479C1061327}" destId="{C4A5E8B2-6FE7-4443-B27B-C5216D0E330C}" srcOrd="2" destOrd="0" parTransId="{D6212ED3-FE7B-42BF-B63D-EF40702AC8A8}" sibTransId="{DD427D6D-9E2A-4FE7-85F7-EED83BBF7FC5}"/>
    <dgm:cxn modelId="{592387CB-F863-4082-AC3B-5CE459961FC7}" srcId="{5E316323-377A-46B8-A4D4-E479C1061327}" destId="{01144811-3E6A-4B10-9D28-C2C94578B690}" srcOrd="1" destOrd="0" parTransId="{167D2452-361D-4D97-84E5-9F38CACAD73B}" sibTransId="{4A2F5A53-F115-4B26-96B4-1C6FDDD0F286}"/>
    <dgm:cxn modelId="{2537BCD4-CC54-4193-B12B-37BBB1C8B0DB}" type="presOf" srcId="{7C456F81-39E8-4A49-BB92-6D9710B9C081}" destId="{BDE4CEE4-C47C-45EC-81AD-A1BC60FDF352}" srcOrd="0" destOrd="0" presId="urn:microsoft.com/office/officeart/2005/8/layout/cycle4"/>
    <dgm:cxn modelId="{07C483D8-56AD-4E28-A956-C6F0B66FA071}" type="presOf" srcId="{D851D966-4FFE-4248-A9C1-6453E25ADC83}" destId="{59459A3E-2B79-4498-9275-243D04AC410B}" srcOrd="0" destOrd="0" presId="urn:microsoft.com/office/officeart/2005/8/layout/cycle4"/>
    <dgm:cxn modelId="{0E4F96DE-D09C-4EC4-8B90-C4C5FAC82807}" srcId="{D851D966-4FFE-4248-A9C1-6453E25ADC83}" destId="{A0D1D621-DA49-4B24-9D22-997E3493B32D}" srcOrd="1" destOrd="0" parTransId="{E3ECB5E8-A935-4CFC-8698-EA5FF877B4E3}" sibTransId="{EAEA91CA-D5DB-4CEF-B363-98AB51DD8415}"/>
    <dgm:cxn modelId="{2E5E16E2-4085-4B1D-8261-70A3BEFBE6A5}" type="presOf" srcId="{360B8BA3-9BEE-40EC-9021-F57BFDFD9DE8}" destId="{2D81F979-A773-416C-BD04-9CD94B0F524A}" srcOrd="1" destOrd="0" presId="urn:microsoft.com/office/officeart/2005/8/layout/cycle4"/>
    <dgm:cxn modelId="{E5B183FA-F359-4FF2-B8BF-35CAE6F71480}" srcId="{7C456F81-39E8-4A49-BB92-6D9710B9C081}" destId="{5E316323-377A-46B8-A4D4-E479C1061327}" srcOrd="3" destOrd="0" parTransId="{5C5C39FD-74EE-486F-890E-28A1DAAF0B24}" sibTransId="{ECFC408D-DF0A-4D67-9B15-5D6A7CD7F7C3}"/>
    <dgm:cxn modelId="{2C2442FC-8EC2-427B-B621-EF64B6225861}" type="presOf" srcId="{E4B4F9F4-D240-4EF9-8A3E-0060574F32FE}" destId="{048FFB3B-5C29-49EB-AAB3-FDFCE6B26557}" srcOrd="0" destOrd="0" presId="urn:microsoft.com/office/officeart/2005/8/layout/cycle4"/>
    <dgm:cxn modelId="{53AC71FF-BF0D-4B49-B665-44186FEB4678}" type="presOf" srcId="{486C129E-19BA-42F5-AD85-4C9625721C2E}" destId="{C29649C1-A21A-4DA3-B338-7BCE30F32902}" srcOrd="0" destOrd="0" presId="urn:microsoft.com/office/officeart/2005/8/layout/cycle4"/>
    <dgm:cxn modelId="{1E3BDFB4-CE6B-48BC-AED5-3D33C908E606}" type="presParOf" srcId="{BDE4CEE4-C47C-45EC-81AD-A1BC60FDF352}" destId="{62491048-5F76-467B-AE99-5133D1177474}" srcOrd="0" destOrd="0" presId="urn:microsoft.com/office/officeart/2005/8/layout/cycle4"/>
    <dgm:cxn modelId="{37F9415F-C6D5-44A5-81A0-3E6FF1395ABF}" type="presParOf" srcId="{62491048-5F76-467B-AE99-5133D1177474}" destId="{6E853767-6E31-4444-AF02-7B2CBE101B8E}" srcOrd="0" destOrd="0" presId="urn:microsoft.com/office/officeart/2005/8/layout/cycle4"/>
    <dgm:cxn modelId="{9ED81D2A-1C3E-417B-A7B6-C1F91415EE9A}" type="presParOf" srcId="{6E853767-6E31-4444-AF02-7B2CBE101B8E}" destId="{C29649C1-A21A-4DA3-B338-7BCE30F32902}" srcOrd="0" destOrd="0" presId="urn:microsoft.com/office/officeart/2005/8/layout/cycle4"/>
    <dgm:cxn modelId="{5CE1AC24-FFDA-4ECB-9CB6-BB6126DB53DC}" type="presParOf" srcId="{6E853767-6E31-4444-AF02-7B2CBE101B8E}" destId="{3296EC63-F60C-416C-A940-CC7B10F00735}" srcOrd="1" destOrd="0" presId="urn:microsoft.com/office/officeart/2005/8/layout/cycle4"/>
    <dgm:cxn modelId="{EA7EFA47-7981-4224-8B86-452332F24C13}" type="presParOf" srcId="{62491048-5F76-467B-AE99-5133D1177474}" destId="{8303CC75-F15F-4FEE-ACBD-EA591A19E76D}" srcOrd="1" destOrd="0" presId="urn:microsoft.com/office/officeart/2005/8/layout/cycle4"/>
    <dgm:cxn modelId="{989817EA-FC9B-4958-917A-81778207712F}" type="presParOf" srcId="{8303CC75-F15F-4FEE-ACBD-EA591A19E76D}" destId="{2FE30161-5C60-466C-9BF5-CEFA31F54EA4}" srcOrd="0" destOrd="0" presId="urn:microsoft.com/office/officeart/2005/8/layout/cycle4"/>
    <dgm:cxn modelId="{E6B55021-C1CC-4B43-BF4C-63A304307B39}" type="presParOf" srcId="{8303CC75-F15F-4FEE-ACBD-EA591A19E76D}" destId="{0490E39C-4561-4FD8-A041-E2CE221E0201}" srcOrd="1" destOrd="0" presId="urn:microsoft.com/office/officeart/2005/8/layout/cycle4"/>
    <dgm:cxn modelId="{D9ACF86A-97FF-4334-BBC2-D3A71436FDDF}" type="presParOf" srcId="{62491048-5F76-467B-AE99-5133D1177474}" destId="{54800330-ABE4-45B8-A995-4267527DC675}" srcOrd="2" destOrd="0" presId="urn:microsoft.com/office/officeart/2005/8/layout/cycle4"/>
    <dgm:cxn modelId="{3E97A0D5-AABB-4CA4-BB37-D48658DB867F}" type="presParOf" srcId="{54800330-ABE4-45B8-A995-4267527DC675}" destId="{88A41F62-FAE9-43B9-9163-89540FD6DEC1}" srcOrd="0" destOrd="0" presId="urn:microsoft.com/office/officeart/2005/8/layout/cycle4"/>
    <dgm:cxn modelId="{1B6C8625-BCA9-4C9A-82E7-D4AFAA969454}" type="presParOf" srcId="{54800330-ABE4-45B8-A995-4267527DC675}" destId="{F880890C-E0DB-4561-89DF-2CC0FF9360F6}" srcOrd="1" destOrd="0" presId="urn:microsoft.com/office/officeart/2005/8/layout/cycle4"/>
    <dgm:cxn modelId="{4872445E-35F6-4A6E-8102-B4BEB09C5CE8}" type="presParOf" srcId="{62491048-5F76-467B-AE99-5133D1177474}" destId="{77607CE4-FF30-4062-968C-144ED4541439}" srcOrd="3" destOrd="0" presId="urn:microsoft.com/office/officeart/2005/8/layout/cycle4"/>
    <dgm:cxn modelId="{8A8C1B51-262B-4139-9589-11E52B876D82}" type="presParOf" srcId="{77607CE4-FF30-4062-968C-144ED4541439}" destId="{B4C96BEC-98F9-4EC5-AC0B-14E5BD424531}" srcOrd="0" destOrd="0" presId="urn:microsoft.com/office/officeart/2005/8/layout/cycle4"/>
    <dgm:cxn modelId="{E7F88C36-F776-45F9-A20A-A8134C77B8AA}" type="presParOf" srcId="{77607CE4-FF30-4062-968C-144ED4541439}" destId="{2D81F979-A773-416C-BD04-9CD94B0F524A}" srcOrd="1" destOrd="0" presId="urn:microsoft.com/office/officeart/2005/8/layout/cycle4"/>
    <dgm:cxn modelId="{BA4CA42B-F2C9-42EB-9C06-51378B7B2F8F}" type="presParOf" srcId="{62491048-5F76-467B-AE99-5133D1177474}" destId="{FDE757A6-8470-4F81-B7A1-D7B39E4E607E}" srcOrd="4" destOrd="0" presId="urn:microsoft.com/office/officeart/2005/8/layout/cycle4"/>
    <dgm:cxn modelId="{286B35D7-71B6-47B9-9AC1-F3AB1321BC3D}" type="presParOf" srcId="{BDE4CEE4-C47C-45EC-81AD-A1BC60FDF352}" destId="{384C7EE9-0388-4DA1-BD85-966B9DA5D161}" srcOrd="1" destOrd="0" presId="urn:microsoft.com/office/officeart/2005/8/layout/cycle4"/>
    <dgm:cxn modelId="{CAA6091D-25CE-4293-9EFD-CAC9FC0E1A1D}" type="presParOf" srcId="{384C7EE9-0388-4DA1-BD85-966B9DA5D161}" destId="{048FFB3B-5C29-49EB-AAB3-FDFCE6B26557}" srcOrd="0" destOrd="0" presId="urn:microsoft.com/office/officeart/2005/8/layout/cycle4"/>
    <dgm:cxn modelId="{98761579-7B9C-4BB1-B6BA-3971EF66368E}" type="presParOf" srcId="{384C7EE9-0388-4DA1-BD85-966B9DA5D161}" destId="{59459A3E-2B79-4498-9275-243D04AC410B}" srcOrd="1" destOrd="0" presId="urn:microsoft.com/office/officeart/2005/8/layout/cycle4"/>
    <dgm:cxn modelId="{6E40A1E4-D147-4F35-B243-12F63E8498C0}" type="presParOf" srcId="{384C7EE9-0388-4DA1-BD85-966B9DA5D161}" destId="{A3B16A58-2DDC-4772-A2E5-036D308AB6DA}" srcOrd="2" destOrd="0" presId="urn:microsoft.com/office/officeart/2005/8/layout/cycle4"/>
    <dgm:cxn modelId="{4E226DF9-61C9-4925-B10D-136FDFF6BF54}" type="presParOf" srcId="{384C7EE9-0388-4DA1-BD85-966B9DA5D161}" destId="{075A8DE5-85A6-4DDB-8683-6AC871D00272}" srcOrd="3" destOrd="0" presId="urn:microsoft.com/office/officeart/2005/8/layout/cycle4"/>
    <dgm:cxn modelId="{8F17C722-CDE4-4D80-952B-4B5B79269950}" type="presParOf" srcId="{384C7EE9-0388-4DA1-BD85-966B9DA5D161}" destId="{C4F9DF83-19E7-4294-9EAB-6E3226948A20}" srcOrd="4" destOrd="0" presId="urn:microsoft.com/office/officeart/2005/8/layout/cycle4"/>
    <dgm:cxn modelId="{87FF2E35-1BB5-4A03-BE67-C7DAA8BF92AC}" type="presParOf" srcId="{BDE4CEE4-C47C-45EC-81AD-A1BC60FDF352}" destId="{2934D2CC-D2D2-4613-8CAD-C85CD795A0B6}" srcOrd="2" destOrd="0" presId="urn:microsoft.com/office/officeart/2005/8/layout/cycle4"/>
    <dgm:cxn modelId="{BCA5A62C-2AB6-458D-B18A-313CD26C0BC5}" type="presParOf" srcId="{BDE4CEE4-C47C-45EC-81AD-A1BC60FDF352}" destId="{9212ADAD-FAEF-411D-AFA9-FF42E3FF5D3C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E4B4F9F4-D240-4EF9-8A3E-0060574F32F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pacitación : organizar cuando es subscriptores es por bloques por 5 (encuesta resumen) : Jhonatan, Kennedy, Antonio, Pamela</a:t>
          </a: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929002E-3CFB-46F1-9DED-701E6BDDBBE5}">
      <dgm:prSet phldrT="[Texto]" custT="1"/>
      <dgm:spPr/>
      <dgm:t>
        <a:bodyPr/>
        <a:lstStyle/>
        <a:p>
          <a:pPr algn="l"/>
          <a:r>
            <a:rPr lang="es-PE" sz="2400" b="1" dirty="0">
              <a:solidFill>
                <a:srgbClr val="00B050"/>
              </a:solidFill>
              <a:latin typeface="Roboto" panose="02000000000000000000" pitchFamily="2" charset="0"/>
              <a:ea typeface="Roboto" panose="02000000000000000000" pitchFamily="2" charset="0"/>
            </a:rPr>
            <a:t>Reportes por Auspiciador centralizadores (DSYO)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A0D1D621-DA49-4B24-9D22-997E3493B32D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odelos de reporte (repositorio)</a:t>
          </a:r>
        </a:p>
      </dgm:t>
    </dgm:pt>
    <dgm:pt modelId="{E3ECB5E8-A935-4CFC-8698-EA5FF877B4E3}" type="par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AEA91CA-D5DB-4CEF-B363-98AB51DD8415}" type="sib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3918B2B-A56B-49E5-A99E-FB8B8DD62018}">
      <dgm:prSet phldrT="[Texto]" custT="1"/>
      <dgm:spPr/>
      <dgm:t>
        <a:bodyPr/>
        <a:lstStyle/>
        <a:p>
          <a:pPr algn="l"/>
          <a:r>
            <a:rPr lang="es-PE" sz="2400" b="1" dirty="0">
              <a:solidFill>
                <a:srgbClr val="00B050"/>
              </a:solidFill>
              <a:latin typeface="Roboto" panose="02000000000000000000" pitchFamily="2" charset="0"/>
              <a:ea typeface="Roboto" panose="02000000000000000000" pitchFamily="2" charset="0"/>
            </a:rPr>
            <a:t>Actualizar variables</a:t>
          </a:r>
        </a:p>
      </dgm:t>
    </dgm:pt>
    <dgm:pt modelId="{771A4284-DC55-4997-B76F-6C9FAAC618D2}" type="par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4DCBC2E-A508-4B64-981D-DA191D2B4917}" type="sib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851D966-4FFE-4248-A9C1-6453E25ADC83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Reportes Personalizados (2 empresas solo lo tienen) : Jhonatan, Kennedy, Antonio, Giovanni</a:t>
          </a:r>
        </a:p>
      </dgm:t>
    </dgm:pt>
    <dgm:pt modelId="{5E16AFD8-F9BA-4FD1-A09E-BF3EB0578E8E}" type="par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299E59F-7CA7-4FC3-AA01-D1FBB0859174}" type="sib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86C129E-19BA-42F5-AD85-4C9625721C2E}">
      <dgm:prSet phldrT="[Texto]" custT="1"/>
      <dgm:spPr/>
      <dgm:t>
        <a:bodyPr/>
        <a:lstStyle/>
        <a:p>
          <a:pPr algn="l"/>
          <a:r>
            <a:rPr lang="es-PE" sz="2400" b="1" dirty="0">
              <a:solidFill>
                <a:srgbClr val="00B050"/>
              </a:solidFill>
              <a:latin typeface="Roboto" panose="02000000000000000000" pitchFamily="2" charset="0"/>
              <a:ea typeface="Roboto" panose="02000000000000000000" pitchFamily="2" charset="0"/>
            </a:rPr>
            <a:t>Presentación o Video</a:t>
          </a:r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C87F9F4-5C07-4BCA-92AB-A2A5B4F9543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ubscritores : Carlos Vera, Carmen, Pamela</a:t>
          </a:r>
        </a:p>
      </dgm:t>
    </dgm:pt>
    <dgm:pt modelId="{C90170B8-5182-4F3F-A080-9441DEDFD996}" type="par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EBC2197-080B-4783-816B-CDB3942CA110}" type="sib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E316323-377A-46B8-A4D4-E479C1061327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ervicios :  Carlos Vera, Carmen</a:t>
          </a:r>
        </a:p>
      </dgm:t>
    </dgm:pt>
    <dgm:pt modelId="{5C5C39FD-74EE-486F-890E-28A1DAAF0B24}" type="par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C408D-DF0A-4D67-9B15-5D6A7CD7F7C3}" type="sib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852CB3-B9A0-47C4-B2D3-60883BCA1CA1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Propuesta nueva (que no encuentran)</a:t>
          </a:r>
        </a:p>
      </dgm:t>
    </dgm:pt>
    <dgm:pt modelId="{EDBB7800-6DDB-4558-8FC8-C0BBF127EE1E}" type="par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165C50-7E86-4743-8D75-7CCB095E30B2}" type="sib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60B8BA3-9BEE-40EC-9021-F57BFDFD9DE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Nuevos reportes</a:t>
          </a:r>
        </a:p>
      </dgm:t>
    </dgm:pt>
    <dgm:pt modelId="{9DF11160-0D78-4317-8393-A4EB775A8F07}" type="par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772E835-DAF3-4BE6-BFB5-21B108368A1E}" type="sib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B3F148-D3AB-4DE9-8484-36EFA907849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Encuesta satisfacción</a:t>
          </a:r>
        </a:p>
      </dgm:t>
    </dgm:pt>
    <dgm:pt modelId="{CD72EACC-C299-4AEC-8B2F-673F67F78823}" type="par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8EC97FF-47A0-4996-A0CE-CE0686EDB039}" type="sib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5EC8EC5-E027-4459-81C0-DE7CCE6DEEA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aterial grabado</a:t>
          </a:r>
        </a:p>
      </dgm:t>
    </dgm:pt>
    <dgm:pt modelId="{37BC18F4-84E6-4167-B9D4-7304DBED905A}" type="par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2572AD4-9071-4727-9D55-DFB358A543CC}" type="sib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1144811-3E6A-4B10-9D28-C2C94578B690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sarrollo</a:t>
          </a:r>
        </a:p>
      </dgm:t>
    </dgm:pt>
    <dgm:pt modelId="{167D2452-361D-4D97-84E5-9F38CACAD73B}" type="par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A2F5A53-F115-4B26-96B4-1C6FDDD0F286}" type="sib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C83024F-E411-41CF-A34F-1FB2BF6DFAE8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Boletín y reportes</a:t>
          </a:r>
        </a:p>
      </dgm:t>
    </dgm:pt>
    <dgm:pt modelId="{0025AB7E-6F71-4447-BF43-E8DD33C2E76D}" type="par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60FD9605-9E1F-4EA8-B9D8-9C8F79B263C1}" type="sib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799AD75-C80E-4271-93C2-34DA1D23ED4F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Video comercial y notas </a:t>
          </a:r>
        </a:p>
      </dgm:t>
    </dgm:pt>
    <dgm:pt modelId="{1D2A9084-604E-43CF-A4CF-72DC21EA2934}" type="par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1E0072C-1879-43C0-90AD-12BCFEA3EB33}" type="sib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4A5E8B2-6FE7-4443-B27B-C5216D0E330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3D</a:t>
          </a:r>
        </a:p>
      </dgm:t>
    </dgm:pt>
    <dgm:pt modelId="{D6212ED3-FE7B-42BF-B63D-EF40702AC8A8}" type="par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D427D6D-9E2A-4FE7-85F7-EED83BBF7FC5}" type="sib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94E61-4084-44A1-AABA-9A689F685C6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atos (cronograma de trabajo) :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Silvesrte</a:t>
          </a:r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 Acosta</a:t>
          </a:r>
        </a:p>
      </dgm:t>
    </dgm:pt>
    <dgm:pt modelId="{BD87D6B6-04C8-4739-AD36-76EAB8C1A15E}" type="parTrans" cxnId="{86D38FB3-7DDC-4070-8E9E-C31BEBECB6C8}">
      <dgm:prSet/>
      <dgm:spPr/>
      <dgm:t>
        <a:bodyPr/>
        <a:lstStyle/>
        <a:p>
          <a:endParaRPr lang="es-PE"/>
        </a:p>
      </dgm:t>
    </dgm:pt>
    <dgm:pt modelId="{CC16C7ED-2927-4E54-B009-DCFCA86ABBF0}" type="sibTrans" cxnId="{86D38FB3-7DDC-4070-8E9E-C31BEBECB6C8}">
      <dgm:prSet/>
      <dgm:spPr/>
      <dgm:t>
        <a:bodyPr/>
        <a:lstStyle/>
        <a:p>
          <a:endParaRPr lang="es-PE"/>
        </a:p>
      </dgm:t>
    </dgm:pt>
    <dgm:pt modelId="{4D814DF2-BCE6-42B9-8E30-C90BF63D7291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cen la Base</a:t>
          </a:r>
        </a:p>
      </dgm:t>
    </dgm:pt>
    <dgm:pt modelId="{B0B52E20-56C1-4690-B7DA-AB16DAD0AAF4}" type="parTrans" cxnId="{6BEF8E37-3EF0-4147-A9B8-B653CCDF31A8}">
      <dgm:prSet/>
      <dgm:spPr/>
      <dgm:t>
        <a:bodyPr/>
        <a:lstStyle/>
        <a:p>
          <a:endParaRPr lang="es-PE"/>
        </a:p>
      </dgm:t>
    </dgm:pt>
    <dgm:pt modelId="{78B04E93-BBBC-43A8-A1A7-22DB77DA7688}" type="sibTrans" cxnId="{6BEF8E37-3EF0-4147-A9B8-B653CCDF31A8}">
      <dgm:prSet/>
      <dgm:spPr/>
      <dgm:t>
        <a:bodyPr/>
        <a:lstStyle/>
        <a:p>
          <a:endParaRPr lang="es-PE"/>
        </a:p>
      </dgm:t>
    </dgm:pt>
    <dgm:pt modelId="{4A0744C2-C0D9-423F-A68C-29A17515C566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etodología de recojo de datos en campo</a:t>
          </a:r>
        </a:p>
      </dgm:t>
    </dgm:pt>
    <dgm:pt modelId="{9979E49E-4D85-4291-8CCC-E84E6D906113}" type="parTrans" cxnId="{D19C2740-F297-4D07-8D35-18DE9385BE2F}">
      <dgm:prSet/>
      <dgm:spPr/>
      <dgm:t>
        <a:bodyPr/>
        <a:lstStyle/>
        <a:p>
          <a:endParaRPr lang="es-PE"/>
        </a:p>
      </dgm:t>
    </dgm:pt>
    <dgm:pt modelId="{81392C7C-2EF4-4465-90CB-57675D93DBA0}" type="sibTrans" cxnId="{D19C2740-F297-4D07-8D35-18DE9385BE2F}">
      <dgm:prSet/>
      <dgm:spPr/>
      <dgm:t>
        <a:bodyPr/>
        <a:lstStyle/>
        <a:p>
          <a:endParaRPr lang="es-PE"/>
        </a:p>
      </dgm:t>
    </dgm:pt>
    <dgm:pt modelId="{91582BEC-DE5A-4662-8627-FAC9CA581172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cen los reportes</a:t>
          </a:r>
        </a:p>
      </dgm:t>
    </dgm:pt>
    <dgm:pt modelId="{342E5849-ABA7-49EC-8025-935DA4F75F7A}" type="parTrans" cxnId="{8E49B4B1-FC63-49B8-BAD7-A60077C98AE8}">
      <dgm:prSet/>
      <dgm:spPr/>
      <dgm:t>
        <a:bodyPr/>
        <a:lstStyle/>
        <a:p>
          <a:endParaRPr lang="es-PE"/>
        </a:p>
      </dgm:t>
    </dgm:pt>
    <dgm:pt modelId="{F3E377B6-06D6-4DF9-99E8-B594BBDC001C}" type="sibTrans" cxnId="{8E49B4B1-FC63-49B8-BAD7-A60077C98AE8}">
      <dgm:prSet/>
      <dgm:spPr/>
      <dgm:t>
        <a:bodyPr/>
        <a:lstStyle/>
        <a:p>
          <a:endParaRPr lang="es-PE"/>
        </a:p>
      </dgm:t>
    </dgm:pt>
    <dgm:pt modelId="{EB03EB6B-9574-4EA5-A153-18382C1F2F1E}" type="pres">
      <dgm:prSet presAssocID="{7C456F81-39E8-4A49-BB92-6D9710B9C081}" presName="Name0" presStyleCnt="0">
        <dgm:presLayoutVars>
          <dgm:dir/>
          <dgm:animLvl val="lvl"/>
          <dgm:resizeHandles val="exact"/>
        </dgm:presLayoutVars>
      </dgm:prSet>
      <dgm:spPr/>
    </dgm:pt>
    <dgm:pt modelId="{D3C3096E-56A6-4096-8CE1-7234C99FF698}" type="pres">
      <dgm:prSet presAssocID="{ECF94E61-4084-44A1-AABA-9A689F685C6C}" presName="boxAndChildren" presStyleCnt="0"/>
      <dgm:spPr/>
    </dgm:pt>
    <dgm:pt modelId="{23E25BBB-CAA1-4613-9B0A-8E7313855BC1}" type="pres">
      <dgm:prSet presAssocID="{ECF94E61-4084-44A1-AABA-9A689F685C6C}" presName="parentTextBox" presStyleLbl="node1" presStyleIdx="0" presStyleCnt="5"/>
      <dgm:spPr/>
    </dgm:pt>
    <dgm:pt modelId="{9D4D0629-8307-48D1-983E-19A89023459E}" type="pres">
      <dgm:prSet presAssocID="{ECF94E61-4084-44A1-AABA-9A689F685C6C}" presName="entireBox" presStyleLbl="node1" presStyleIdx="0" presStyleCnt="5"/>
      <dgm:spPr/>
    </dgm:pt>
    <dgm:pt modelId="{0FD9A014-015D-443C-9B54-A3662BF4A3B5}" type="pres">
      <dgm:prSet presAssocID="{ECF94E61-4084-44A1-AABA-9A689F685C6C}" presName="descendantBox" presStyleCnt="0"/>
      <dgm:spPr/>
    </dgm:pt>
    <dgm:pt modelId="{DEBFAFF2-398E-4993-B947-F97E616F6405}" type="pres">
      <dgm:prSet presAssocID="{4D814DF2-BCE6-42B9-8E30-C90BF63D7291}" presName="childTextBox" presStyleLbl="fgAccFollowNode1" presStyleIdx="0" presStyleCnt="15">
        <dgm:presLayoutVars>
          <dgm:bulletEnabled val="1"/>
        </dgm:presLayoutVars>
      </dgm:prSet>
      <dgm:spPr/>
    </dgm:pt>
    <dgm:pt modelId="{635FF771-35C9-4403-A55A-FB31CB316DC3}" type="pres">
      <dgm:prSet presAssocID="{4A0744C2-C0D9-423F-A68C-29A17515C566}" presName="childTextBox" presStyleLbl="fgAccFollowNode1" presStyleIdx="1" presStyleCnt="15">
        <dgm:presLayoutVars>
          <dgm:bulletEnabled val="1"/>
        </dgm:presLayoutVars>
      </dgm:prSet>
      <dgm:spPr/>
    </dgm:pt>
    <dgm:pt modelId="{E20A101E-7118-4273-9932-D019582BC7E5}" type="pres">
      <dgm:prSet presAssocID="{91582BEC-DE5A-4662-8627-FAC9CA581172}" presName="childTextBox" presStyleLbl="fgAccFollowNode1" presStyleIdx="2" presStyleCnt="15">
        <dgm:presLayoutVars>
          <dgm:bulletEnabled val="1"/>
        </dgm:presLayoutVars>
      </dgm:prSet>
      <dgm:spPr/>
    </dgm:pt>
    <dgm:pt modelId="{A356B024-FED8-4F6C-A805-E4746E502B39}" type="pres">
      <dgm:prSet presAssocID="{ECFC408D-DF0A-4D67-9B15-5D6A7CD7F7C3}" presName="sp" presStyleCnt="0"/>
      <dgm:spPr/>
    </dgm:pt>
    <dgm:pt modelId="{E6D9A1BE-4E9C-4AAE-8D50-2B9A3A1DCC7F}" type="pres">
      <dgm:prSet presAssocID="{5E316323-377A-46B8-A4D4-E479C1061327}" presName="arrowAndChildren" presStyleCnt="0"/>
      <dgm:spPr/>
    </dgm:pt>
    <dgm:pt modelId="{5BEA4B0D-108A-402E-9342-32517FE70D18}" type="pres">
      <dgm:prSet presAssocID="{5E316323-377A-46B8-A4D4-E479C1061327}" presName="parentTextArrow" presStyleLbl="node1" presStyleIdx="0" presStyleCnt="5"/>
      <dgm:spPr/>
    </dgm:pt>
    <dgm:pt modelId="{AC2EE8B0-E87E-42A7-A10A-8C5F3FD4783F}" type="pres">
      <dgm:prSet presAssocID="{5E316323-377A-46B8-A4D4-E479C1061327}" presName="arrow" presStyleLbl="node1" presStyleIdx="1" presStyleCnt="5"/>
      <dgm:spPr/>
    </dgm:pt>
    <dgm:pt modelId="{8E35B08F-7893-43A6-ABE4-FC2EB7D14808}" type="pres">
      <dgm:prSet presAssocID="{5E316323-377A-46B8-A4D4-E479C1061327}" presName="descendantArrow" presStyleCnt="0"/>
      <dgm:spPr/>
    </dgm:pt>
    <dgm:pt modelId="{007CFC69-67D0-405F-A6F8-03FBB5EBCBD4}" type="pres">
      <dgm:prSet presAssocID="{360B8BA3-9BEE-40EC-9021-F57BFDFD9DE8}" presName="childTextArrow" presStyleLbl="fgAccFollowNode1" presStyleIdx="3" presStyleCnt="15">
        <dgm:presLayoutVars>
          <dgm:bulletEnabled val="1"/>
        </dgm:presLayoutVars>
      </dgm:prSet>
      <dgm:spPr/>
    </dgm:pt>
    <dgm:pt modelId="{D5A9615E-6D64-42C7-A7F4-7B2D96EEBF35}" type="pres">
      <dgm:prSet presAssocID="{01144811-3E6A-4B10-9D28-C2C94578B690}" presName="childTextArrow" presStyleLbl="fgAccFollowNode1" presStyleIdx="4" presStyleCnt="15">
        <dgm:presLayoutVars>
          <dgm:bulletEnabled val="1"/>
        </dgm:presLayoutVars>
      </dgm:prSet>
      <dgm:spPr/>
    </dgm:pt>
    <dgm:pt modelId="{2CE9A198-0D82-4501-923D-1C7A3202EBC9}" type="pres">
      <dgm:prSet presAssocID="{C4A5E8B2-6FE7-4443-B27B-C5216D0E330C}" presName="childTextArrow" presStyleLbl="fgAccFollowNode1" presStyleIdx="5" presStyleCnt="15">
        <dgm:presLayoutVars>
          <dgm:bulletEnabled val="1"/>
        </dgm:presLayoutVars>
      </dgm:prSet>
      <dgm:spPr/>
    </dgm:pt>
    <dgm:pt modelId="{3B5B80E6-D439-44F0-A337-A96C8DB6A6E1}" type="pres">
      <dgm:prSet presAssocID="{9EBC2197-080B-4783-816B-CDB3942CA110}" presName="sp" presStyleCnt="0"/>
      <dgm:spPr/>
    </dgm:pt>
    <dgm:pt modelId="{3FCA7FD0-DDE1-405C-9141-CFA4BEE19740}" type="pres">
      <dgm:prSet presAssocID="{8C87F9F4-5C07-4BCA-92AB-A2A5B4F95435}" presName="arrowAndChildren" presStyleCnt="0"/>
      <dgm:spPr/>
    </dgm:pt>
    <dgm:pt modelId="{88E62E39-32A8-419B-AE60-E8065A6CD1E2}" type="pres">
      <dgm:prSet presAssocID="{8C87F9F4-5C07-4BCA-92AB-A2A5B4F95435}" presName="parentTextArrow" presStyleLbl="node1" presStyleIdx="1" presStyleCnt="5"/>
      <dgm:spPr/>
    </dgm:pt>
    <dgm:pt modelId="{95AD91AD-CB62-4BD8-94F0-DFCC20ABD171}" type="pres">
      <dgm:prSet presAssocID="{8C87F9F4-5C07-4BCA-92AB-A2A5B4F95435}" presName="arrow" presStyleLbl="node1" presStyleIdx="2" presStyleCnt="5"/>
      <dgm:spPr/>
    </dgm:pt>
    <dgm:pt modelId="{49659649-2EF7-4586-A95B-58970F77117F}" type="pres">
      <dgm:prSet presAssocID="{8C87F9F4-5C07-4BCA-92AB-A2A5B4F95435}" presName="descendantArrow" presStyleCnt="0"/>
      <dgm:spPr/>
    </dgm:pt>
    <dgm:pt modelId="{9D8D2D06-5FB4-42DA-988C-D4400F8A15D7}" type="pres">
      <dgm:prSet presAssocID="{3E852CB3-B9A0-47C4-B2D3-60883BCA1CA1}" presName="childTextArrow" presStyleLbl="fgAccFollowNode1" presStyleIdx="6" presStyleCnt="15">
        <dgm:presLayoutVars>
          <dgm:bulletEnabled val="1"/>
        </dgm:presLayoutVars>
      </dgm:prSet>
      <dgm:spPr/>
    </dgm:pt>
    <dgm:pt modelId="{757C85E8-B454-49CD-8F22-D3E9EB042994}" type="pres">
      <dgm:prSet presAssocID="{1C83024F-E411-41CF-A34F-1FB2BF6DFAE8}" presName="childTextArrow" presStyleLbl="fgAccFollowNode1" presStyleIdx="7" presStyleCnt="15">
        <dgm:presLayoutVars>
          <dgm:bulletEnabled val="1"/>
        </dgm:presLayoutVars>
      </dgm:prSet>
      <dgm:spPr/>
    </dgm:pt>
    <dgm:pt modelId="{49A26938-D933-49A6-8EA8-CC39758147BA}" type="pres">
      <dgm:prSet presAssocID="{8799AD75-C80E-4271-93C2-34DA1D23ED4F}" presName="childTextArrow" presStyleLbl="fgAccFollowNode1" presStyleIdx="8" presStyleCnt="15">
        <dgm:presLayoutVars>
          <dgm:bulletEnabled val="1"/>
        </dgm:presLayoutVars>
      </dgm:prSet>
      <dgm:spPr/>
    </dgm:pt>
    <dgm:pt modelId="{5C7A3FD8-99A0-40CE-B189-AE89EE7F92DA}" type="pres">
      <dgm:prSet presAssocID="{F299E59F-7CA7-4FC3-AA01-D1FBB0859174}" presName="sp" presStyleCnt="0"/>
      <dgm:spPr/>
    </dgm:pt>
    <dgm:pt modelId="{9105E249-8148-470D-9574-1C494EBCD5E3}" type="pres">
      <dgm:prSet presAssocID="{D851D966-4FFE-4248-A9C1-6453E25ADC83}" presName="arrowAndChildren" presStyleCnt="0"/>
      <dgm:spPr/>
    </dgm:pt>
    <dgm:pt modelId="{354D8C0C-0917-4BA0-8481-476F3B64DDF6}" type="pres">
      <dgm:prSet presAssocID="{D851D966-4FFE-4248-A9C1-6453E25ADC83}" presName="parentTextArrow" presStyleLbl="node1" presStyleIdx="2" presStyleCnt="5"/>
      <dgm:spPr/>
    </dgm:pt>
    <dgm:pt modelId="{DE4459A0-95C5-4725-9F03-9A0AD2F9926A}" type="pres">
      <dgm:prSet presAssocID="{D851D966-4FFE-4248-A9C1-6453E25ADC83}" presName="arrow" presStyleLbl="node1" presStyleIdx="3" presStyleCnt="5"/>
      <dgm:spPr/>
    </dgm:pt>
    <dgm:pt modelId="{A5543260-F659-408F-9B54-DC9A6C06DF1F}" type="pres">
      <dgm:prSet presAssocID="{D851D966-4FFE-4248-A9C1-6453E25ADC83}" presName="descendantArrow" presStyleCnt="0"/>
      <dgm:spPr/>
    </dgm:pt>
    <dgm:pt modelId="{B6AD687A-D1FE-4304-8D99-21A7AA53D287}" type="pres">
      <dgm:prSet presAssocID="{0929002E-3CFB-46F1-9DED-701E6BDDBBE5}" presName="childTextArrow" presStyleLbl="fgAccFollowNode1" presStyleIdx="9" presStyleCnt="15">
        <dgm:presLayoutVars>
          <dgm:bulletEnabled val="1"/>
        </dgm:presLayoutVars>
      </dgm:prSet>
      <dgm:spPr/>
    </dgm:pt>
    <dgm:pt modelId="{62EB7941-A74D-4F18-8DE5-485D8A2C4F3A}" type="pres">
      <dgm:prSet presAssocID="{A0D1D621-DA49-4B24-9D22-997E3493B32D}" presName="childTextArrow" presStyleLbl="fgAccFollowNode1" presStyleIdx="10" presStyleCnt="15">
        <dgm:presLayoutVars>
          <dgm:bulletEnabled val="1"/>
        </dgm:presLayoutVars>
      </dgm:prSet>
      <dgm:spPr/>
    </dgm:pt>
    <dgm:pt modelId="{CEB0F7B0-2A19-4F09-BDC3-8C3B0ACA1B28}" type="pres">
      <dgm:prSet presAssocID="{33918B2B-A56B-49E5-A99E-FB8B8DD62018}" presName="childTextArrow" presStyleLbl="fgAccFollowNode1" presStyleIdx="11" presStyleCnt="15">
        <dgm:presLayoutVars>
          <dgm:bulletEnabled val="1"/>
        </dgm:presLayoutVars>
      </dgm:prSet>
      <dgm:spPr/>
    </dgm:pt>
    <dgm:pt modelId="{1713176F-A260-4F41-BE91-6CED18B891A8}" type="pres">
      <dgm:prSet presAssocID="{EC5EB5C7-F1A2-4FE5-A33B-B7B5FE53412C}" presName="sp" presStyleCnt="0"/>
      <dgm:spPr/>
    </dgm:pt>
    <dgm:pt modelId="{4B80C2B2-1C45-4E43-B99D-7E755D5F1010}" type="pres">
      <dgm:prSet presAssocID="{E4B4F9F4-D240-4EF9-8A3E-0060574F32FE}" presName="arrowAndChildren" presStyleCnt="0"/>
      <dgm:spPr/>
    </dgm:pt>
    <dgm:pt modelId="{7187319B-27A8-4119-9C65-A9B885720148}" type="pres">
      <dgm:prSet presAssocID="{E4B4F9F4-D240-4EF9-8A3E-0060574F32FE}" presName="parentTextArrow" presStyleLbl="node1" presStyleIdx="3" presStyleCnt="5"/>
      <dgm:spPr/>
    </dgm:pt>
    <dgm:pt modelId="{F88137AA-2751-494D-A2CA-74235065E832}" type="pres">
      <dgm:prSet presAssocID="{E4B4F9F4-D240-4EF9-8A3E-0060574F32FE}" presName="arrow" presStyleLbl="node1" presStyleIdx="4" presStyleCnt="5"/>
      <dgm:spPr/>
    </dgm:pt>
    <dgm:pt modelId="{17FADE8B-944B-4353-9345-07596CE7FC8F}" type="pres">
      <dgm:prSet presAssocID="{E4B4F9F4-D240-4EF9-8A3E-0060574F32FE}" presName="descendantArrow" presStyleCnt="0"/>
      <dgm:spPr/>
    </dgm:pt>
    <dgm:pt modelId="{0EDD97D6-9FCF-4BD4-9B78-0101DA09CB2A}" type="pres">
      <dgm:prSet presAssocID="{486C129E-19BA-42F5-AD85-4C9625721C2E}" presName="childTextArrow" presStyleLbl="fgAccFollowNode1" presStyleIdx="12" presStyleCnt="15">
        <dgm:presLayoutVars>
          <dgm:bulletEnabled val="1"/>
        </dgm:presLayoutVars>
      </dgm:prSet>
      <dgm:spPr/>
    </dgm:pt>
    <dgm:pt modelId="{5B48657E-BE30-4828-B247-6BF8C67A5417}" type="pres">
      <dgm:prSet presAssocID="{C0B3F148-D3AB-4DE9-8484-36EFA907849C}" presName="childTextArrow" presStyleLbl="fgAccFollowNode1" presStyleIdx="13" presStyleCnt="15">
        <dgm:presLayoutVars>
          <dgm:bulletEnabled val="1"/>
        </dgm:presLayoutVars>
      </dgm:prSet>
      <dgm:spPr/>
    </dgm:pt>
    <dgm:pt modelId="{775BC43A-FF86-4AE6-A97D-A464BAB13759}" type="pres">
      <dgm:prSet presAssocID="{F5EC8EC5-E027-4459-81C0-DE7CCE6DEEA5}" presName="childTextArrow" presStyleLbl="fgAccFollowNode1" presStyleIdx="14" presStyleCnt="15">
        <dgm:presLayoutVars>
          <dgm:bulletEnabled val="1"/>
        </dgm:presLayoutVars>
      </dgm:prSet>
      <dgm:spPr/>
    </dgm:pt>
  </dgm:ptLst>
  <dgm:cxnLst>
    <dgm:cxn modelId="{FC2A9C01-34C1-4FF4-AE6A-7A519836BAF6}" type="presOf" srcId="{A0D1D621-DA49-4B24-9D22-997E3493B32D}" destId="{62EB7941-A74D-4F18-8DE5-485D8A2C4F3A}" srcOrd="0" destOrd="0" presId="urn:microsoft.com/office/officeart/2005/8/layout/process4"/>
    <dgm:cxn modelId="{7E4CBA0E-DB61-48A6-906D-7BC1BB344639}" type="presOf" srcId="{E4B4F9F4-D240-4EF9-8A3E-0060574F32FE}" destId="{7187319B-27A8-4119-9C65-A9B885720148}" srcOrd="0" destOrd="0" presId="urn:microsoft.com/office/officeart/2005/8/layout/process4"/>
    <dgm:cxn modelId="{E9B8BA10-FC82-4C8E-8BE9-C2E69019A018}" srcId="{8C87F9F4-5C07-4BCA-92AB-A2A5B4F95435}" destId="{8799AD75-C80E-4271-93C2-34DA1D23ED4F}" srcOrd="2" destOrd="0" parTransId="{1D2A9084-604E-43CF-A4CF-72DC21EA2934}" sibTransId="{71E0072C-1879-43C0-90AD-12BCFEA3EB33}"/>
    <dgm:cxn modelId="{4E220113-5239-4BED-A92B-48EDBE16FA47}" type="presOf" srcId="{0929002E-3CFB-46F1-9DED-701E6BDDBBE5}" destId="{B6AD687A-D1FE-4304-8D99-21A7AA53D287}" srcOrd="0" destOrd="0" presId="urn:microsoft.com/office/officeart/2005/8/layout/process4"/>
    <dgm:cxn modelId="{BDBF4014-9DB3-4E4E-B72A-454B7E2B3097}" srcId="{7C456F81-39E8-4A49-BB92-6D9710B9C081}" destId="{D851D966-4FFE-4248-A9C1-6453E25ADC83}" srcOrd="1" destOrd="0" parTransId="{5E16AFD8-F9BA-4FD1-A09E-BF3EB0578E8E}" sibTransId="{F299E59F-7CA7-4FC3-AA01-D1FBB0859174}"/>
    <dgm:cxn modelId="{C5946918-E62E-4BD7-9743-80867A6A281E}" srcId="{7C456F81-39E8-4A49-BB92-6D9710B9C081}" destId="{8C87F9F4-5C07-4BCA-92AB-A2A5B4F95435}" srcOrd="2" destOrd="0" parTransId="{C90170B8-5182-4F3F-A080-9441DEDFD996}" sibTransId="{9EBC2197-080B-4783-816B-CDB3942CA110}"/>
    <dgm:cxn modelId="{1097FE20-EBA6-42F7-8CAD-E6201E37F456}" type="presOf" srcId="{360B8BA3-9BEE-40EC-9021-F57BFDFD9DE8}" destId="{007CFC69-67D0-405F-A6F8-03FBB5EBCBD4}" srcOrd="0" destOrd="0" presId="urn:microsoft.com/office/officeart/2005/8/layout/process4"/>
    <dgm:cxn modelId="{212D2521-FA9B-4E5B-B7C1-3B6A831A5B9F}" type="presOf" srcId="{8799AD75-C80E-4271-93C2-34DA1D23ED4F}" destId="{49A26938-D933-49A6-8EA8-CC39758147BA}" srcOrd="0" destOrd="0" presId="urn:microsoft.com/office/officeart/2005/8/layout/process4"/>
    <dgm:cxn modelId="{DFDECE35-D23E-4022-94E6-4E074FD1D7A6}" type="presOf" srcId="{E4B4F9F4-D240-4EF9-8A3E-0060574F32FE}" destId="{F88137AA-2751-494D-A2CA-74235065E832}" srcOrd="1" destOrd="0" presId="urn:microsoft.com/office/officeart/2005/8/layout/process4"/>
    <dgm:cxn modelId="{6BEF8E37-3EF0-4147-A9B8-B653CCDF31A8}" srcId="{ECF94E61-4084-44A1-AABA-9A689F685C6C}" destId="{4D814DF2-BCE6-42B9-8E30-C90BF63D7291}" srcOrd="0" destOrd="0" parTransId="{B0B52E20-56C1-4690-B7DA-AB16DAD0AAF4}" sibTransId="{78B04E93-BBBC-43A8-A1A7-22DB77DA7688}"/>
    <dgm:cxn modelId="{1516893E-4C1A-4671-9A6B-E0A43CF2FFB3}" type="presOf" srcId="{C0B3F148-D3AB-4DE9-8484-36EFA907849C}" destId="{5B48657E-BE30-4828-B247-6BF8C67A5417}" srcOrd="0" destOrd="0" presId="urn:microsoft.com/office/officeart/2005/8/layout/process4"/>
    <dgm:cxn modelId="{D19C2740-F297-4D07-8D35-18DE9385BE2F}" srcId="{ECF94E61-4084-44A1-AABA-9A689F685C6C}" destId="{4A0744C2-C0D9-423F-A68C-29A17515C566}" srcOrd="1" destOrd="0" parTransId="{9979E49E-4D85-4291-8CCC-E84E6D906113}" sibTransId="{81392C7C-2EF4-4465-90CB-57675D93DBA0}"/>
    <dgm:cxn modelId="{E586525D-DE5C-47F7-8AA3-BD50CF247832}" type="presOf" srcId="{D851D966-4FFE-4248-A9C1-6453E25ADC83}" destId="{DE4459A0-95C5-4725-9F03-9A0AD2F9926A}" srcOrd="1" destOrd="0" presId="urn:microsoft.com/office/officeart/2005/8/layout/process4"/>
    <dgm:cxn modelId="{9E9AA05F-1AE7-427C-9081-FB058A3450EF}" srcId="{D851D966-4FFE-4248-A9C1-6453E25ADC83}" destId="{0929002E-3CFB-46F1-9DED-701E6BDDBBE5}" srcOrd="0" destOrd="0" parTransId="{AD8E2242-6023-4FA1-A34B-BE65322F502E}" sibTransId="{0D4F85F6-A19F-4209-A6A7-43F65AB97D31}"/>
    <dgm:cxn modelId="{DEDDF041-E200-4C34-833F-58439D2B837F}" srcId="{E4B4F9F4-D240-4EF9-8A3E-0060574F32FE}" destId="{C0B3F148-D3AB-4DE9-8484-36EFA907849C}" srcOrd="1" destOrd="0" parTransId="{CD72EACC-C299-4AEC-8B2F-673F67F78823}" sibTransId="{98EC97FF-47A0-4996-A0CE-CE0686EDB039}"/>
    <dgm:cxn modelId="{FCAB3B63-22BF-45CB-B62D-8A3B39670C16}" type="presOf" srcId="{F5EC8EC5-E027-4459-81C0-DE7CCE6DEEA5}" destId="{775BC43A-FF86-4AE6-A97D-A464BAB13759}" srcOrd="0" destOrd="0" presId="urn:microsoft.com/office/officeart/2005/8/layout/process4"/>
    <dgm:cxn modelId="{0546C747-6BC3-40AF-B2A3-D7C83A0FBE80}" srcId="{D851D966-4FFE-4248-A9C1-6453E25ADC83}" destId="{33918B2B-A56B-49E5-A99E-FB8B8DD62018}" srcOrd="2" destOrd="0" parTransId="{771A4284-DC55-4997-B76F-6C9FAAC618D2}" sibTransId="{14DCBC2E-A508-4B64-981D-DA191D2B4917}"/>
    <dgm:cxn modelId="{78FC3068-D7B3-4DF8-91A7-F6C25B061CD9}" type="presOf" srcId="{4D814DF2-BCE6-42B9-8E30-C90BF63D7291}" destId="{DEBFAFF2-398E-4993-B947-F97E616F6405}" srcOrd="0" destOrd="0" presId="urn:microsoft.com/office/officeart/2005/8/layout/process4"/>
    <dgm:cxn modelId="{A1842479-5E5E-4FEC-9CE8-45D902445E7B}" type="presOf" srcId="{ECF94E61-4084-44A1-AABA-9A689F685C6C}" destId="{23E25BBB-CAA1-4613-9B0A-8E7313855BC1}" srcOrd="0" destOrd="0" presId="urn:microsoft.com/office/officeart/2005/8/layout/process4"/>
    <dgm:cxn modelId="{29705159-E322-4084-B2CE-64B35F5EFA1B}" type="presOf" srcId="{33918B2B-A56B-49E5-A99E-FB8B8DD62018}" destId="{CEB0F7B0-2A19-4F09-BDC3-8C3B0ACA1B28}" srcOrd="0" destOrd="0" presId="urn:microsoft.com/office/officeart/2005/8/layout/process4"/>
    <dgm:cxn modelId="{24AAB383-71A1-453A-B304-4CDC76916177}" type="presOf" srcId="{C4A5E8B2-6FE7-4443-B27B-C5216D0E330C}" destId="{2CE9A198-0D82-4501-923D-1C7A3202EBC9}" srcOrd="0" destOrd="0" presId="urn:microsoft.com/office/officeart/2005/8/layout/process4"/>
    <dgm:cxn modelId="{28AE7A87-3A68-4006-9467-1365C0060C13}" type="presOf" srcId="{7C456F81-39E8-4A49-BB92-6D9710B9C081}" destId="{EB03EB6B-9574-4EA5-A153-18382C1F2F1E}" srcOrd="0" destOrd="0" presId="urn:microsoft.com/office/officeart/2005/8/layout/process4"/>
    <dgm:cxn modelId="{72B5BD94-EFB1-4D31-89FD-3BF9531C23C0}" type="presOf" srcId="{ECF94E61-4084-44A1-AABA-9A689F685C6C}" destId="{9D4D0629-8307-48D1-983E-19A89023459E}" srcOrd="1" destOrd="0" presId="urn:microsoft.com/office/officeart/2005/8/layout/process4"/>
    <dgm:cxn modelId="{E0A86395-4C33-4F42-943C-52804CBA0CF6}" srcId="{8C87F9F4-5C07-4BCA-92AB-A2A5B4F95435}" destId="{1C83024F-E411-41CF-A34F-1FB2BF6DFAE8}" srcOrd="1" destOrd="0" parTransId="{0025AB7E-6F71-4447-BF43-E8DD33C2E76D}" sibTransId="{60FD9605-9E1F-4EA8-B9D8-9C8F79B263C1}"/>
    <dgm:cxn modelId="{E31B029B-72C3-4515-9800-7E4538032B54}" type="presOf" srcId="{91582BEC-DE5A-4662-8627-FAC9CA581172}" destId="{E20A101E-7118-4273-9932-D019582BC7E5}" srcOrd="0" destOrd="0" presId="urn:microsoft.com/office/officeart/2005/8/layout/process4"/>
    <dgm:cxn modelId="{1FFE229D-DDC7-4828-9C7A-BB0DDC279C76}" type="presOf" srcId="{4A0744C2-C0D9-423F-A68C-29A17515C566}" destId="{635FF771-35C9-4403-A55A-FB31CB316DC3}" srcOrd="0" destOrd="0" presId="urn:microsoft.com/office/officeart/2005/8/layout/process4"/>
    <dgm:cxn modelId="{199137A4-C638-42F4-8610-6B55209B4A2E}" type="presOf" srcId="{486C129E-19BA-42F5-AD85-4C9625721C2E}" destId="{0EDD97D6-9FCF-4BD4-9B78-0101DA09CB2A}" srcOrd="0" destOrd="0" presId="urn:microsoft.com/office/officeart/2005/8/layout/process4"/>
    <dgm:cxn modelId="{BF6CEEA7-B79C-49B6-BBCB-C2F35D55C285}" srcId="{8C87F9F4-5C07-4BCA-92AB-A2A5B4F95435}" destId="{3E852CB3-B9A0-47C4-B2D3-60883BCA1CA1}" srcOrd="0" destOrd="0" parTransId="{EDBB7800-6DDB-4558-8FC8-C0BBF127EE1E}" sibTransId="{3E165C50-7E86-4743-8D75-7CCB095E30B2}"/>
    <dgm:cxn modelId="{02553EAA-3EAA-4D05-86DE-21CD4335B209}" type="presOf" srcId="{5E316323-377A-46B8-A4D4-E479C1061327}" destId="{AC2EE8B0-E87E-42A7-A10A-8C5F3FD4783F}" srcOrd="1" destOrd="0" presId="urn:microsoft.com/office/officeart/2005/8/layout/process4"/>
    <dgm:cxn modelId="{AB049FAC-75AE-448B-8CF3-A0CA18C8F25D}" type="presOf" srcId="{D851D966-4FFE-4248-A9C1-6453E25ADC83}" destId="{354D8C0C-0917-4BA0-8481-476F3B64DDF6}" srcOrd="0" destOrd="0" presId="urn:microsoft.com/office/officeart/2005/8/layout/process4"/>
    <dgm:cxn modelId="{60B3C5AF-2852-4A52-B4FB-8A34543BEDDC}" type="presOf" srcId="{5E316323-377A-46B8-A4D4-E479C1061327}" destId="{5BEA4B0D-108A-402E-9342-32517FE70D18}" srcOrd="0" destOrd="0" presId="urn:microsoft.com/office/officeart/2005/8/layout/process4"/>
    <dgm:cxn modelId="{EF1894B1-786B-4C9F-8FA3-0BA98A71499E}" type="presOf" srcId="{01144811-3E6A-4B10-9D28-C2C94578B690}" destId="{D5A9615E-6D64-42C7-A7F4-7B2D96EEBF35}" srcOrd="0" destOrd="0" presId="urn:microsoft.com/office/officeart/2005/8/layout/process4"/>
    <dgm:cxn modelId="{8E49B4B1-FC63-49B8-BAD7-A60077C98AE8}" srcId="{ECF94E61-4084-44A1-AABA-9A689F685C6C}" destId="{91582BEC-DE5A-4662-8627-FAC9CA581172}" srcOrd="2" destOrd="0" parTransId="{342E5849-ABA7-49EC-8025-935DA4F75F7A}" sibTransId="{F3E377B6-06D6-4DF9-99E8-B594BBDC001C}"/>
    <dgm:cxn modelId="{86D38FB3-7DDC-4070-8E9E-C31BEBECB6C8}" srcId="{7C456F81-39E8-4A49-BB92-6D9710B9C081}" destId="{ECF94E61-4084-44A1-AABA-9A689F685C6C}" srcOrd="4" destOrd="0" parTransId="{BD87D6B6-04C8-4739-AD36-76EAB8C1A15E}" sibTransId="{CC16C7ED-2927-4E54-B009-DCFCA86ABBF0}"/>
    <dgm:cxn modelId="{BADC30B5-6E31-4F3A-AC0D-69D148CCD2ED}" srcId="{E4B4F9F4-D240-4EF9-8A3E-0060574F32FE}" destId="{F5EC8EC5-E027-4459-81C0-DE7CCE6DEEA5}" srcOrd="2" destOrd="0" parTransId="{37BC18F4-84E6-4167-B9D4-7304DBED905A}" sibTransId="{72572AD4-9071-4727-9D55-DFB358A543CC}"/>
    <dgm:cxn modelId="{F659BFB7-D9D5-4C7B-8DD5-EB42490C1C74}" srcId="{5E316323-377A-46B8-A4D4-E479C1061327}" destId="{360B8BA3-9BEE-40EC-9021-F57BFDFD9DE8}" srcOrd="0" destOrd="0" parTransId="{9DF11160-0D78-4317-8393-A4EB775A8F07}" sibTransId="{9772E835-DAF3-4BE6-BFB5-21B108368A1E}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18EB9DBE-20E5-486B-A18F-F91E0E8A8A40}" type="presOf" srcId="{1C83024F-E411-41CF-A34F-1FB2BF6DFAE8}" destId="{757C85E8-B454-49CD-8F22-D3E9EB042994}" srcOrd="0" destOrd="0" presId="urn:microsoft.com/office/officeart/2005/8/layout/process4"/>
    <dgm:cxn modelId="{EA01F1BE-F7A3-412C-9F55-B39BC855A8B3}" srcId="{7C456F81-39E8-4A49-BB92-6D9710B9C081}" destId="{E4B4F9F4-D240-4EF9-8A3E-0060574F32FE}" srcOrd="0" destOrd="0" parTransId="{686EE54E-2CC1-4ABF-B221-047AC1ECAA71}" sibTransId="{EC5EB5C7-F1A2-4FE5-A33B-B7B5FE53412C}"/>
    <dgm:cxn modelId="{ABA46FC7-1D6F-48CE-A4D1-E536C9AE4690}" srcId="{5E316323-377A-46B8-A4D4-E479C1061327}" destId="{C4A5E8B2-6FE7-4443-B27B-C5216D0E330C}" srcOrd="2" destOrd="0" parTransId="{D6212ED3-FE7B-42BF-B63D-EF40702AC8A8}" sibTransId="{DD427D6D-9E2A-4FE7-85F7-EED83BBF7FC5}"/>
    <dgm:cxn modelId="{592387CB-F863-4082-AC3B-5CE459961FC7}" srcId="{5E316323-377A-46B8-A4D4-E479C1061327}" destId="{01144811-3E6A-4B10-9D28-C2C94578B690}" srcOrd="1" destOrd="0" parTransId="{167D2452-361D-4D97-84E5-9F38CACAD73B}" sibTransId="{4A2F5A53-F115-4B26-96B4-1C6FDDD0F286}"/>
    <dgm:cxn modelId="{9DDC52D3-9ACB-4F74-A722-C7F34EA681A0}" type="presOf" srcId="{3E852CB3-B9A0-47C4-B2D3-60883BCA1CA1}" destId="{9D8D2D06-5FB4-42DA-988C-D4400F8A15D7}" srcOrd="0" destOrd="0" presId="urn:microsoft.com/office/officeart/2005/8/layout/process4"/>
    <dgm:cxn modelId="{0E4F96DE-D09C-4EC4-8B90-C4C5FAC82807}" srcId="{D851D966-4FFE-4248-A9C1-6453E25ADC83}" destId="{A0D1D621-DA49-4B24-9D22-997E3493B32D}" srcOrd="1" destOrd="0" parTransId="{E3ECB5E8-A935-4CFC-8698-EA5FF877B4E3}" sibTransId="{EAEA91CA-D5DB-4CEF-B363-98AB51DD8415}"/>
    <dgm:cxn modelId="{6D7E6CE3-76F7-4624-BC25-4A8AF12EFE03}" type="presOf" srcId="{8C87F9F4-5C07-4BCA-92AB-A2A5B4F95435}" destId="{88E62E39-32A8-419B-AE60-E8065A6CD1E2}" srcOrd="0" destOrd="0" presId="urn:microsoft.com/office/officeart/2005/8/layout/process4"/>
    <dgm:cxn modelId="{857FC2E7-6FBE-48E8-9032-BA22D22B616C}" type="presOf" srcId="{8C87F9F4-5C07-4BCA-92AB-A2A5B4F95435}" destId="{95AD91AD-CB62-4BD8-94F0-DFCC20ABD171}" srcOrd="1" destOrd="0" presId="urn:microsoft.com/office/officeart/2005/8/layout/process4"/>
    <dgm:cxn modelId="{E5B183FA-F359-4FF2-B8BF-35CAE6F71480}" srcId="{7C456F81-39E8-4A49-BB92-6D9710B9C081}" destId="{5E316323-377A-46B8-A4D4-E479C1061327}" srcOrd="3" destOrd="0" parTransId="{5C5C39FD-74EE-486F-890E-28A1DAAF0B24}" sibTransId="{ECFC408D-DF0A-4D67-9B15-5D6A7CD7F7C3}"/>
    <dgm:cxn modelId="{1426243D-5367-49B5-86BF-CBA8853BEFED}" type="presParOf" srcId="{EB03EB6B-9574-4EA5-A153-18382C1F2F1E}" destId="{D3C3096E-56A6-4096-8CE1-7234C99FF698}" srcOrd="0" destOrd="0" presId="urn:microsoft.com/office/officeart/2005/8/layout/process4"/>
    <dgm:cxn modelId="{61A0AC50-CB54-4612-93B8-010957206BF6}" type="presParOf" srcId="{D3C3096E-56A6-4096-8CE1-7234C99FF698}" destId="{23E25BBB-CAA1-4613-9B0A-8E7313855BC1}" srcOrd="0" destOrd="0" presId="urn:microsoft.com/office/officeart/2005/8/layout/process4"/>
    <dgm:cxn modelId="{F2DB6199-EEE5-4A67-A214-7FCB762C675A}" type="presParOf" srcId="{D3C3096E-56A6-4096-8CE1-7234C99FF698}" destId="{9D4D0629-8307-48D1-983E-19A89023459E}" srcOrd="1" destOrd="0" presId="urn:microsoft.com/office/officeart/2005/8/layout/process4"/>
    <dgm:cxn modelId="{18311A6E-A855-4364-97E1-5B6BEDBADB8D}" type="presParOf" srcId="{D3C3096E-56A6-4096-8CE1-7234C99FF698}" destId="{0FD9A014-015D-443C-9B54-A3662BF4A3B5}" srcOrd="2" destOrd="0" presId="urn:microsoft.com/office/officeart/2005/8/layout/process4"/>
    <dgm:cxn modelId="{B8B568A4-D73A-435B-A160-76BAEFC98167}" type="presParOf" srcId="{0FD9A014-015D-443C-9B54-A3662BF4A3B5}" destId="{DEBFAFF2-398E-4993-B947-F97E616F6405}" srcOrd="0" destOrd="0" presId="urn:microsoft.com/office/officeart/2005/8/layout/process4"/>
    <dgm:cxn modelId="{D605EF61-3E57-4FBC-85A4-3F6255330440}" type="presParOf" srcId="{0FD9A014-015D-443C-9B54-A3662BF4A3B5}" destId="{635FF771-35C9-4403-A55A-FB31CB316DC3}" srcOrd="1" destOrd="0" presId="urn:microsoft.com/office/officeart/2005/8/layout/process4"/>
    <dgm:cxn modelId="{84C9D22A-20B7-453D-9825-482E9704757F}" type="presParOf" srcId="{0FD9A014-015D-443C-9B54-A3662BF4A3B5}" destId="{E20A101E-7118-4273-9932-D019582BC7E5}" srcOrd="2" destOrd="0" presId="urn:microsoft.com/office/officeart/2005/8/layout/process4"/>
    <dgm:cxn modelId="{84F965F3-4D19-49DD-9D1A-072A49592275}" type="presParOf" srcId="{EB03EB6B-9574-4EA5-A153-18382C1F2F1E}" destId="{A356B024-FED8-4F6C-A805-E4746E502B39}" srcOrd="1" destOrd="0" presId="urn:microsoft.com/office/officeart/2005/8/layout/process4"/>
    <dgm:cxn modelId="{C407BA8A-B8F9-4DBC-AB51-B769A0215587}" type="presParOf" srcId="{EB03EB6B-9574-4EA5-A153-18382C1F2F1E}" destId="{E6D9A1BE-4E9C-4AAE-8D50-2B9A3A1DCC7F}" srcOrd="2" destOrd="0" presId="urn:microsoft.com/office/officeart/2005/8/layout/process4"/>
    <dgm:cxn modelId="{6B1F632F-B8BB-43D8-A206-0FD3E73BFAF5}" type="presParOf" srcId="{E6D9A1BE-4E9C-4AAE-8D50-2B9A3A1DCC7F}" destId="{5BEA4B0D-108A-402E-9342-32517FE70D18}" srcOrd="0" destOrd="0" presId="urn:microsoft.com/office/officeart/2005/8/layout/process4"/>
    <dgm:cxn modelId="{BD723F0B-FFE8-497E-85CF-6A18DE025BEB}" type="presParOf" srcId="{E6D9A1BE-4E9C-4AAE-8D50-2B9A3A1DCC7F}" destId="{AC2EE8B0-E87E-42A7-A10A-8C5F3FD4783F}" srcOrd="1" destOrd="0" presId="urn:microsoft.com/office/officeart/2005/8/layout/process4"/>
    <dgm:cxn modelId="{86C094D5-D4E5-44A9-A953-D1F801E988B6}" type="presParOf" srcId="{E6D9A1BE-4E9C-4AAE-8D50-2B9A3A1DCC7F}" destId="{8E35B08F-7893-43A6-ABE4-FC2EB7D14808}" srcOrd="2" destOrd="0" presId="urn:microsoft.com/office/officeart/2005/8/layout/process4"/>
    <dgm:cxn modelId="{51488247-1426-471B-93CC-1B15D2E6593F}" type="presParOf" srcId="{8E35B08F-7893-43A6-ABE4-FC2EB7D14808}" destId="{007CFC69-67D0-405F-A6F8-03FBB5EBCBD4}" srcOrd="0" destOrd="0" presId="urn:microsoft.com/office/officeart/2005/8/layout/process4"/>
    <dgm:cxn modelId="{7AE188C3-0D86-4F47-8956-72BAA66EFACC}" type="presParOf" srcId="{8E35B08F-7893-43A6-ABE4-FC2EB7D14808}" destId="{D5A9615E-6D64-42C7-A7F4-7B2D96EEBF35}" srcOrd="1" destOrd="0" presId="urn:microsoft.com/office/officeart/2005/8/layout/process4"/>
    <dgm:cxn modelId="{682217E3-81B5-4741-9888-36E74260EC48}" type="presParOf" srcId="{8E35B08F-7893-43A6-ABE4-FC2EB7D14808}" destId="{2CE9A198-0D82-4501-923D-1C7A3202EBC9}" srcOrd="2" destOrd="0" presId="urn:microsoft.com/office/officeart/2005/8/layout/process4"/>
    <dgm:cxn modelId="{5E81BB18-A888-43CC-89BA-63D55BCF30BF}" type="presParOf" srcId="{EB03EB6B-9574-4EA5-A153-18382C1F2F1E}" destId="{3B5B80E6-D439-44F0-A337-A96C8DB6A6E1}" srcOrd="3" destOrd="0" presId="urn:microsoft.com/office/officeart/2005/8/layout/process4"/>
    <dgm:cxn modelId="{5A19BBD2-DA14-44B0-93A8-3D28A1B1FD0C}" type="presParOf" srcId="{EB03EB6B-9574-4EA5-A153-18382C1F2F1E}" destId="{3FCA7FD0-DDE1-405C-9141-CFA4BEE19740}" srcOrd="4" destOrd="0" presId="urn:microsoft.com/office/officeart/2005/8/layout/process4"/>
    <dgm:cxn modelId="{C8E3D2F1-4616-4AAD-911C-76700EF3330B}" type="presParOf" srcId="{3FCA7FD0-DDE1-405C-9141-CFA4BEE19740}" destId="{88E62E39-32A8-419B-AE60-E8065A6CD1E2}" srcOrd="0" destOrd="0" presId="urn:microsoft.com/office/officeart/2005/8/layout/process4"/>
    <dgm:cxn modelId="{CEA21E01-227E-4679-84CF-4EF54B276DB6}" type="presParOf" srcId="{3FCA7FD0-DDE1-405C-9141-CFA4BEE19740}" destId="{95AD91AD-CB62-4BD8-94F0-DFCC20ABD171}" srcOrd="1" destOrd="0" presId="urn:microsoft.com/office/officeart/2005/8/layout/process4"/>
    <dgm:cxn modelId="{3869FD21-98F3-4DC0-B341-EC7D8E50B289}" type="presParOf" srcId="{3FCA7FD0-DDE1-405C-9141-CFA4BEE19740}" destId="{49659649-2EF7-4586-A95B-58970F77117F}" srcOrd="2" destOrd="0" presId="urn:microsoft.com/office/officeart/2005/8/layout/process4"/>
    <dgm:cxn modelId="{8B80D072-467C-43A5-B396-DB2A8C614AA4}" type="presParOf" srcId="{49659649-2EF7-4586-A95B-58970F77117F}" destId="{9D8D2D06-5FB4-42DA-988C-D4400F8A15D7}" srcOrd="0" destOrd="0" presId="urn:microsoft.com/office/officeart/2005/8/layout/process4"/>
    <dgm:cxn modelId="{2BD24688-C5C6-4777-8B4C-61402AE4305A}" type="presParOf" srcId="{49659649-2EF7-4586-A95B-58970F77117F}" destId="{757C85E8-B454-49CD-8F22-D3E9EB042994}" srcOrd="1" destOrd="0" presId="urn:microsoft.com/office/officeart/2005/8/layout/process4"/>
    <dgm:cxn modelId="{ED458666-95E1-4DE7-8C92-18DAA5B11F75}" type="presParOf" srcId="{49659649-2EF7-4586-A95B-58970F77117F}" destId="{49A26938-D933-49A6-8EA8-CC39758147BA}" srcOrd="2" destOrd="0" presId="urn:microsoft.com/office/officeart/2005/8/layout/process4"/>
    <dgm:cxn modelId="{C37EECDB-B0D5-4A63-BEB6-467703E3FB05}" type="presParOf" srcId="{EB03EB6B-9574-4EA5-A153-18382C1F2F1E}" destId="{5C7A3FD8-99A0-40CE-B189-AE89EE7F92DA}" srcOrd="5" destOrd="0" presId="urn:microsoft.com/office/officeart/2005/8/layout/process4"/>
    <dgm:cxn modelId="{62D44498-FB3A-483F-82B8-B79064F3756F}" type="presParOf" srcId="{EB03EB6B-9574-4EA5-A153-18382C1F2F1E}" destId="{9105E249-8148-470D-9574-1C494EBCD5E3}" srcOrd="6" destOrd="0" presId="urn:microsoft.com/office/officeart/2005/8/layout/process4"/>
    <dgm:cxn modelId="{2BC045D2-AE29-4733-A160-627CF9059BFE}" type="presParOf" srcId="{9105E249-8148-470D-9574-1C494EBCD5E3}" destId="{354D8C0C-0917-4BA0-8481-476F3B64DDF6}" srcOrd="0" destOrd="0" presId="urn:microsoft.com/office/officeart/2005/8/layout/process4"/>
    <dgm:cxn modelId="{3A600F2A-CCAD-49A9-BBB3-E181F84D224C}" type="presParOf" srcId="{9105E249-8148-470D-9574-1C494EBCD5E3}" destId="{DE4459A0-95C5-4725-9F03-9A0AD2F9926A}" srcOrd="1" destOrd="0" presId="urn:microsoft.com/office/officeart/2005/8/layout/process4"/>
    <dgm:cxn modelId="{AD507E45-5C62-4FEC-B779-5A03C53A1631}" type="presParOf" srcId="{9105E249-8148-470D-9574-1C494EBCD5E3}" destId="{A5543260-F659-408F-9B54-DC9A6C06DF1F}" srcOrd="2" destOrd="0" presId="urn:microsoft.com/office/officeart/2005/8/layout/process4"/>
    <dgm:cxn modelId="{7A3AECCF-5836-413F-9275-712F989489AA}" type="presParOf" srcId="{A5543260-F659-408F-9B54-DC9A6C06DF1F}" destId="{B6AD687A-D1FE-4304-8D99-21A7AA53D287}" srcOrd="0" destOrd="0" presId="urn:microsoft.com/office/officeart/2005/8/layout/process4"/>
    <dgm:cxn modelId="{61CB0C56-3322-4F47-9201-502B74520E83}" type="presParOf" srcId="{A5543260-F659-408F-9B54-DC9A6C06DF1F}" destId="{62EB7941-A74D-4F18-8DE5-485D8A2C4F3A}" srcOrd="1" destOrd="0" presId="urn:microsoft.com/office/officeart/2005/8/layout/process4"/>
    <dgm:cxn modelId="{EE01AE9F-027A-4415-9ADC-458E2A20058A}" type="presParOf" srcId="{A5543260-F659-408F-9B54-DC9A6C06DF1F}" destId="{CEB0F7B0-2A19-4F09-BDC3-8C3B0ACA1B28}" srcOrd="2" destOrd="0" presId="urn:microsoft.com/office/officeart/2005/8/layout/process4"/>
    <dgm:cxn modelId="{030C419F-30B9-4F59-B82C-F0A32614720F}" type="presParOf" srcId="{EB03EB6B-9574-4EA5-A153-18382C1F2F1E}" destId="{1713176F-A260-4F41-BE91-6CED18B891A8}" srcOrd="7" destOrd="0" presId="urn:microsoft.com/office/officeart/2005/8/layout/process4"/>
    <dgm:cxn modelId="{5E46E6D5-6D76-4030-BAC7-77C1FBD7F027}" type="presParOf" srcId="{EB03EB6B-9574-4EA5-A153-18382C1F2F1E}" destId="{4B80C2B2-1C45-4E43-B99D-7E755D5F1010}" srcOrd="8" destOrd="0" presId="urn:microsoft.com/office/officeart/2005/8/layout/process4"/>
    <dgm:cxn modelId="{81BD8AD5-E69B-44E6-AE2B-E6F4F739B41E}" type="presParOf" srcId="{4B80C2B2-1C45-4E43-B99D-7E755D5F1010}" destId="{7187319B-27A8-4119-9C65-A9B885720148}" srcOrd="0" destOrd="0" presId="urn:microsoft.com/office/officeart/2005/8/layout/process4"/>
    <dgm:cxn modelId="{E8E2C035-154E-4B68-9A74-22659D539B55}" type="presParOf" srcId="{4B80C2B2-1C45-4E43-B99D-7E755D5F1010}" destId="{F88137AA-2751-494D-A2CA-74235065E832}" srcOrd="1" destOrd="0" presId="urn:microsoft.com/office/officeart/2005/8/layout/process4"/>
    <dgm:cxn modelId="{58E61E2F-EC20-43A5-B425-417F0C0CD9D8}" type="presParOf" srcId="{4B80C2B2-1C45-4E43-B99D-7E755D5F1010}" destId="{17FADE8B-944B-4353-9345-07596CE7FC8F}" srcOrd="2" destOrd="0" presId="urn:microsoft.com/office/officeart/2005/8/layout/process4"/>
    <dgm:cxn modelId="{E91AD50F-59F5-4E0C-B2A2-3F82738BDC2D}" type="presParOf" srcId="{17FADE8B-944B-4353-9345-07596CE7FC8F}" destId="{0EDD97D6-9FCF-4BD4-9B78-0101DA09CB2A}" srcOrd="0" destOrd="0" presId="urn:microsoft.com/office/officeart/2005/8/layout/process4"/>
    <dgm:cxn modelId="{79ED6CA3-2843-455E-B84C-11978E4DC9F4}" type="presParOf" srcId="{17FADE8B-944B-4353-9345-07596CE7FC8F}" destId="{5B48657E-BE30-4828-B247-6BF8C67A5417}" srcOrd="1" destOrd="0" presId="urn:microsoft.com/office/officeart/2005/8/layout/process4"/>
    <dgm:cxn modelId="{19636885-9EF5-4A68-9E63-A7A621217DFB}" type="presParOf" srcId="{17FADE8B-944B-4353-9345-07596CE7FC8F}" destId="{775BC43A-FF86-4AE6-A97D-A464BAB13759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cycle4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E4B4F9F4-D240-4EF9-8A3E-0060574F32F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omercial : Prospección y Venta</a:t>
          </a: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929002E-3CFB-46F1-9DED-701E6BDDBBE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avid Narvaez : Líder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A0D1D621-DA49-4B24-9D22-997E3493B32D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ilvestre Acosta : Arquitecto</a:t>
          </a:r>
        </a:p>
      </dgm:t>
    </dgm:pt>
    <dgm:pt modelId="{E3ECB5E8-A935-4CFC-8698-EA5FF877B4E3}" type="par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AEA91CA-D5DB-4CEF-B363-98AB51DD8415}" type="sib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3918B2B-A56B-49E5-A99E-FB8B8DD6201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Ruben Campos: Data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Engineer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71A4284-DC55-4997-B76F-6C9FAAC618D2}" type="par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4DCBC2E-A508-4B64-981D-DA191D2B4917}" type="sib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851D966-4FFE-4248-A9C1-6453E25ADC83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Operaciones : Motor de Cálculo</a:t>
          </a:r>
        </a:p>
      </dgm:t>
    </dgm:pt>
    <dgm:pt modelId="{5E16AFD8-F9BA-4FD1-A09E-BF3EB0578E8E}" type="par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299E59F-7CA7-4FC3-AA01-D1FBB0859174}" type="sib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86C129E-19BA-42F5-AD85-4C9625721C2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rlos Vera : Líder </a:t>
          </a:r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C87F9F4-5C07-4BCA-92AB-A2A5B4F9543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sarrollo : Flujo y Automatización</a:t>
          </a:r>
        </a:p>
      </dgm:t>
    </dgm:pt>
    <dgm:pt modelId="{C90170B8-5182-4F3F-A080-9441DEDFD996}" type="par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EBC2197-080B-4783-816B-CDB3942CA110}" type="sib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E316323-377A-46B8-A4D4-E479C1061327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ocumentación : Flujos y procesos</a:t>
          </a:r>
        </a:p>
      </dgm:t>
    </dgm:pt>
    <dgm:pt modelId="{5C5C39FD-74EE-486F-890E-28A1DAAF0B24}" type="par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C408D-DF0A-4D67-9B15-5D6A7CD7F7C3}" type="sib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852CB3-B9A0-47C4-B2D3-60883BCA1CA1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Luis Vasquez :Líder</a:t>
          </a:r>
        </a:p>
      </dgm:t>
    </dgm:pt>
    <dgm:pt modelId="{EDBB7800-6DDB-4558-8FC8-C0BBF127EE1E}" type="par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165C50-7E86-4743-8D75-7CCB095E30B2}" type="sib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60B8BA3-9BEE-40EC-9021-F57BFDFD9DE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avid Narvaez :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Lider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DF11160-0D78-4317-8393-A4EB775A8F07}" type="par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772E835-DAF3-4BE6-BFB5-21B108368A1E}" type="sib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B3F148-D3AB-4DE9-8484-36EFA907849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aniel Vento :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Account</a:t>
          </a:r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 Manager</a:t>
          </a:r>
        </a:p>
      </dgm:t>
    </dgm:pt>
    <dgm:pt modelId="{CD72EACC-C299-4AEC-8B2F-673F67F78823}" type="par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8EC97FF-47A0-4996-A0CE-CE0686EDB039}" type="sib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1144811-3E6A-4B10-9D28-C2C94578B690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aidy : Documentación</a:t>
          </a:r>
        </a:p>
      </dgm:t>
    </dgm:pt>
    <dgm:pt modelId="{167D2452-361D-4D97-84E5-9F38CACAD73B}" type="par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A2F5A53-F115-4B26-96B4-1C6FDDD0F286}" type="sib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C83024F-E411-41CF-A34F-1FB2BF6DFAE8}">
      <dgm:prSet phldrT="[Texto]" custT="1"/>
      <dgm:spPr/>
      <dgm:t>
        <a:bodyPr/>
        <a:lstStyle/>
        <a:p>
          <a:pPr algn="ctr"/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Ivan</a:t>
          </a:r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 : Desarrollo</a:t>
          </a:r>
        </a:p>
      </dgm:t>
    </dgm:pt>
    <dgm:pt modelId="{0025AB7E-6F71-4447-BF43-E8DD33C2E76D}" type="par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60FD9605-9E1F-4EA8-B9D8-9C8F79B263C1}" type="sib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799AD75-C80E-4271-93C2-34DA1D23ED4F}">
      <dgm:prSet phldrT="[Texto]" custT="1"/>
      <dgm:spPr/>
      <dgm:t>
        <a:bodyPr/>
        <a:lstStyle/>
        <a:p>
          <a:pPr algn="ctr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D2A9084-604E-43CF-A4CF-72DC21EA2934}" type="par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1E0072C-1879-43C0-90AD-12BCFEA3EB33}" type="sib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4A5E8B2-6FE7-4443-B27B-C5216D0E330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aid : Soporte</a:t>
          </a:r>
        </a:p>
      </dgm:t>
    </dgm:pt>
    <dgm:pt modelId="{D6212ED3-FE7B-42BF-B63D-EF40702AC8A8}" type="par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D427D6D-9E2A-4FE7-85F7-EED83BBF7FC5}" type="sib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D32279F-D09A-438B-81D3-3AD624449CE2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Leandro :Data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Engineer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B440E067-7D3D-432B-9F76-51DF338F3D22}" type="parTrans" cxnId="{E2702429-3A2D-4605-AF5C-87A054D44989}">
      <dgm:prSet/>
      <dgm:spPr/>
      <dgm:t>
        <a:bodyPr/>
        <a:lstStyle/>
        <a:p>
          <a:endParaRPr lang="es-PE"/>
        </a:p>
      </dgm:t>
    </dgm:pt>
    <dgm:pt modelId="{3E1DAC1F-1BA3-4186-A48D-3A3526BE48A2}" type="sibTrans" cxnId="{E2702429-3A2D-4605-AF5C-87A054D44989}">
      <dgm:prSet/>
      <dgm:spPr/>
      <dgm:t>
        <a:bodyPr/>
        <a:lstStyle/>
        <a:p>
          <a:endParaRPr lang="es-PE"/>
        </a:p>
      </dgm:t>
    </dgm:pt>
    <dgm:pt modelId="{C03B12CA-C127-4A9D-B567-EBA22F854EF2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223AE657-B547-42D2-BCC0-100382CA802D}" type="parTrans" cxnId="{A942A1E9-8B79-4026-AED5-0E36C4274B83}">
      <dgm:prSet/>
      <dgm:spPr/>
      <dgm:t>
        <a:bodyPr/>
        <a:lstStyle/>
        <a:p>
          <a:endParaRPr lang="es-PE"/>
        </a:p>
      </dgm:t>
    </dgm:pt>
    <dgm:pt modelId="{9EA55493-7F84-4ED3-AF96-676ED6F03F79}" type="sibTrans" cxnId="{A942A1E9-8B79-4026-AED5-0E36C4274B83}">
      <dgm:prSet/>
      <dgm:spPr/>
      <dgm:t>
        <a:bodyPr/>
        <a:lstStyle/>
        <a:p>
          <a:endParaRPr lang="es-PE"/>
        </a:p>
      </dgm:t>
    </dgm:pt>
    <dgm:pt modelId="{19ECB9D4-007A-40A3-8BCB-BB55DB558947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Jesus : Desarrollo </a:t>
          </a:r>
        </a:p>
      </dgm:t>
    </dgm:pt>
    <dgm:pt modelId="{27ECC49D-8BBC-4C27-A2AE-FA41C31DA9D0}" type="parTrans" cxnId="{DC8FCED3-C10C-4246-90B5-ED214E370E98}">
      <dgm:prSet/>
      <dgm:spPr/>
      <dgm:t>
        <a:bodyPr/>
        <a:lstStyle/>
        <a:p>
          <a:endParaRPr lang="es-PE"/>
        </a:p>
      </dgm:t>
    </dgm:pt>
    <dgm:pt modelId="{DF378767-2825-45EC-A6E2-073D75709781}" type="sibTrans" cxnId="{DC8FCED3-C10C-4246-90B5-ED214E370E98}">
      <dgm:prSet/>
      <dgm:spPr/>
      <dgm:t>
        <a:bodyPr/>
        <a:lstStyle/>
        <a:p>
          <a:endParaRPr lang="es-PE"/>
        </a:p>
      </dgm:t>
    </dgm:pt>
    <dgm:pt modelId="{BDE4CEE4-C47C-45EC-81AD-A1BC60FDF352}" type="pres">
      <dgm:prSet presAssocID="{7C456F81-39E8-4A49-BB92-6D9710B9C0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62491048-5F76-467B-AE99-5133D1177474}" type="pres">
      <dgm:prSet presAssocID="{7C456F81-39E8-4A49-BB92-6D9710B9C081}" presName="children" presStyleCnt="0"/>
      <dgm:spPr/>
    </dgm:pt>
    <dgm:pt modelId="{6E853767-6E31-4444-AF02-7B2CBE101B8E}" type="pres">
      <dgm:prSet presAssocID="{7C456F81-39E8-4A49-BB92-6D9710B9C081}" presName="child1group" presStyleCnt="0"/>
      <dgm:spPr/>
    </dgm:pt>
    <dgm:pt modelId="{C29649C1-A21A-4DA3-B338-7BCE30F32902}" type="pres">
      <dgm:prSet presAssocID="{7C456F81-39E8-4A49-BB92-6D9710B9C081}" presName="child1" presStyleLbl="bgAcc1" presStyleIdx="0" presStyleCnt="4" custScaleX="124258"/>
      <dgm:spPr/>
    </dgm:pt>
    <dgm:pt modelId="{3296EC63-F60C-416C-A940-CC7B10F00735}" type="pres">
      <dgm:prSet presAssocID="{7C456F81-39E8-4A49-BB92-6D9710B9C081}" presName="child1Text" presStyleLbl="bgAcc1" presStyleIdx="0" presStyleCnt="4">
        <dgm:presLayoutVars>
          <dgm:bulletEnabled val="1"/>
        </dgm:presLayoutVars>
      </dgm:prSet>
      <dgm:spPr/>
    </dgm:pt>
    <dgm:pt modelId="{8303CC75-F15F-4FEE-ACBD-EA591A19E76D}" type="pres">
      <dgm:prSet presAssocID="{7C456F81-39E8-4A49-BB92-6D9710B9C081}" presName="child2group" presStyleCnt="0"/>
      <dgm:spPr/>
    </dgm:pt>
    <dgm:pt modelId="{2FE30161-5C60-466C-9BF5-CEFA31F54EA4}" type="pres">
      <dgm:prSet presAssocID="{7C456F81-39E8-4A49-BB92-6D9710B9C081}" presName="child2" presStyleLbl="bgAcc1" presStyleIdx="1" presStyleCnt="4" custScaleX="124258"/>
      <dgm:spPr/>
    </dgm:pt>
    <dgm:pt modelId="{0490E39C-4561-4FD8-A041-E2CE221E0201}" type="pres">
      <dgm:prSet presAssocID="{7C456F81-39E8-4A49-BB92-6D9710B9C081}" presName="child2Text" presStyleLbl="bgAcc1" presStyleIdx="1" presStyleCnt="4">
        <dgm:presLayoutVars>
          <dgm:bulletEnabled val="1"/>
        </dgm:presLayoutVars>
      </dgm:prSet>
      <dgm:spPr/>
    </dgm:pt>
    <dgm:pt modelId="{54800330-ABE4-45B8-A995-4267527DC675}" type="pres">
      <dgm:prSet presAssocID="{7C456F81-39E8-4A49-BB92-6D9710B9C081}" presName="child3group" presStyleCnt="0"/>
      <dgm:spPr/>
    </dgm:pt>
    <dgm:pt modelId="{88A41F62-FAE9-43B9-9163-89540FD6DEC1}" type="pres">
      <dgm:prSet presAssocID="{7C456F81-39E8-4A49-BB92-6D9710B9C081}" presName="child3" presStyleLbl="bgAcc1" presStyleIdx="2" presStyleCnt="4" custScaleX="124258"/>
      <dgm:spPr/>
    </dgm:pt>
    <dgm:pt modelId="{F880890C-E0DB-4561-89DF-2CC0FF9360F6}" type="pres">
      <dgm:prSet presAssocID="{7C456F81-39E8-4A49-BB92-6D9710B9C081}" presName="child3Text" presStyleLbl="bgAcc1" presStyleIdx="2" presStyleCnt="4">
        <dgm:presLayoutVars>
          <dgm:bulletEnabled val="1"/>
        </dgm:presLayoutVars>
      </dgm:prSet>
      <dgm:spPr/>
    </dgm:pt>
    <dgm:pt modelId="{77607CE4-FF30-4062-968C-144ED4541439}" type="pres">
      <dgm:prSet presAssocID="{7C456F81-39E8-4A49-BB92-6D9710B9C081}" presName="child4group" presStyleCnt="0"/>
      <dgm:spPr/>
    </dgm:pt>
    <dgm:pt modelId="{B4C96BEC-98F9-4EC5-AC0B-14E5BD424531}" type="pres">
      <dgm:prSet presAssocID="{7C456F81-39E8-4A49-BB92-6D9710B9C081}" presName="child4" presStyleLbl="bgAcc1" presStyleIdx="3" presStyleCnt="4" custScaleX="124258"/>
      <dgm:spPr/>
    </dgm:pt>
    <dgm:pt modelId="{2D81F979-A773-416C-BD04-9CD94B0F524A}" type="pres">
      <dgm:prSet presAssocID="{7C456F81-39E8-4A49-BB92-6D9710B9C081}" presName="child4Text" presStyleLbl="bgAcc1" presStyleIdx="3" presStyleCnt="4">
        <dgm:presLayoutVars>
          <dgm:bulletEnabled val="1"/>
        </dgm:presLayoutVars>
      </dgm:prSet>
      <dgm:spPr/>
    </dgm:pt>
    <dgm:pt modelId="{FDE757A6-8470-4F81-B7A1-D7B39E4E607E}" type="pres">
      <dgm:prSet presAssocID="{7C456F81-39E8-4A49-BB92-6D9710B9C081}" presName="childPlaceholder" presStyleCnt="0"/>
      <dgm:spPr/>
    </dgm:pt>
    <dgm:pt modelId="{384C7EE9-0388-4DA1-BD85-966B9DA5D161}" type="pres">
      <dgm:prSet presAssocID="{7C456F81-39E8-4A49-BB92-6D9710B9C081}" presName="circle" presStyleCnt="0"/>
      <dgm:spPr/>
    </dgm:pt>
    <dgm:pt modelId="{048FFB3B-5C29-49EB-AAB3-FDFCE6B26557}" type="pres">
      <dgm:prSet presAssocID="{7C456F81-39E8-4A49-BB92-6D9710B9C0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59459A3E-2B79-4498-9275-243D04AC410B}" type="pres">
      <dgm:prSet presAssocID="{7C456F81-39E8-4A49-BB92-6D9710B9C0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A3B16A58-2DDC-4772-A2E5-036D308AB6DA}" type="pres">
      <dgm:prSet presAssocID="{7C456F81-39E8-4A49-BB92-6D9710B9C0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075A8DE5-85A6-4DDB-8683-6AC871D00272}" type="pres">
      <dgm:prSet presAssocID="{7C456F81-39E8-4A49-BB92-6D9710B9C0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C4F9DF83-19E7-4294-9EAB-6E3226948A20}" type="pres">
      <dgm:prSet presAssocID="{7C456F81-39E8-4A49-BB92-6D9710B9C081}" presName="quadrantPlaceholder" presStyleCnt="0"/>
      <dgm:spPr/>
    </dgm:pt>
    <dgm:pt modelId="{2934D2CC-D2D2-4613-8CAD-C85CD795A0B6}" type="pres">
      <dgm:prSet presAssocID="{7C456F81-39E8-4A49-BB92-6D9710B9C081}" presName="center1" presStyleLbl="fgShp" presStyleIdx="0" presStyleCnt="2"/>
      <dgm:spPr/>
    </dgm:pt>
    <dgm:pt modelId="{9212ADAD-FAEF-411D-AFA9-FF42E3FF5D3C}" type="pres">
      <dgm:prSet presAssocID="{7C456F81-39E8-4A49-BB92-6D9710B9C081}" presName="center2" presStyleLbl="fgShp" presStyleIdx="1" presStyleCnt="2"/>
      <dgm:spPr/>
    </dgm:pt>
  </dgm:ptLst>
  <dgm:cxnLst>
    <dgm:cxn modelId="{E2FFA002-D3DA-4E19-BFE4-8324C4824874}" type="presOf" srcId="{8799AD75-C80E-4271-93C2-34DA1D23ED4F}" destId="{F880890C-E0DB-4561-89DF-2CC0FF9360F6}" srcOrd="1" destOrd="3" presId="urn:microsoft.com/office/officeart/2005/8/layout/cycle4"/>
    <dgm:cxn modelId="{E9B8BA10-FC82-4C8E-8BE9-C2E69019A018}" srcId="{8C87F9F4-5C07-4BCA-92AB-A2A5B4F95435}" destId="{8799AD75-C80E-4271-93C2-34DA1D23ED4F}" srcOrd="3" destOrd="0" parTransId="{1D2A9084-604E-43CF-A4CF-72DC21EA2934}" sibTransId="{71E0072C-1879-43C0-90AD-12BCFEA3EB33}"/>
    <dgm:cxn modelId="{BDBF4014-9DB3-4E4E-B72A-454B7E2B3097}" srcId="{7C456F81-39E8-4A49-BB92-6D9710B9C081}" destId="{D851D966-4FFE-4248-A9C1-6453E25ADC83}" srcOrd="1" destOrd="0" parTransId="{5E16AFD8-F9BA-4FD1-A09E-BF3EB0578E8E}" sibTransId="{F299E59F-7CA7-4FC3-AA01-D1FBB0859174}"/>
    <dgm:cxn modelId="{5C659416-6146-45A4-AADB-EFB57F07326C}" type="presOf" srcId="{0929002E-3CFB-46F1-9DED-701E6BDDBBE5}" destId="{0490E39C-4561-4FD8-A041-E2CE221E0201}" srcOrd="1" destOrd="0" presId="urn:microsoft.com/office/officeart/2005/8/layout/cycle4"/>
    <dgm:cxn modelId="{C5946918-E62E-4BD7-9743-80867A6A281E}" srcId="{7C456F81-39E8-4A49-BB92-6D9710B9C081}" destId="{8C87F9F4-5C07-4BCA-92AB-A2A5B4F95435}" srcOrd="2" destOrd="0" parTransId="{C90170B8-5182-4F3F-A080-9441DEDFD996}" sibTransId="{9EBC2197-080B-4783-816B-CDB3942CA110}"/>
    <dgm:cxn modelId="{E2702429-3A2D-4605-AF5C-87A054D44989}" srcId="{D851D966-4FFE-4248-A9C1-6453E25ADC83}" destId="{ED32279F-D09A-438B-81D3-3AD624449CE2}" srcOrd="3" destOrd="0" parTransId="{B440E067-7D3D-432B-9F76-51DF338F3D22}" sibTransId="{3E1DAC1F-1BA3-4186-A48D-3A3526BE48A2}"/>
    <dgm:cxn modelId="{F89F1331-D109-4373-A2B7-B6DA43A08761}" type="presOf" srcId="{0929002E-3CFB-46F1-9DED-701E6BDDBBE5}" destId="{2FE30161-5C60-466C-9BF5-CEFA31F54EA4}" srcOrd="0" destOrd="0" presId="urn:microsoft.com/office/officeart/2005/8/layout/cycle4"/>
    <dgm:cxn modelId="{49B57D5C-A5FF-4D23-9CF2-5C4B0A2F8EF5}" type="presOf" srcId="{01144811-3E6A-4B10-9D28-C2C94578B690}" destId="{B4C96BEC-98F9-4EC5-AC0B-14E5BD424531}" srcOrd="0" destOrd="1" presId="urn:microsoft.com/office/officeart/2005/8/layout/cycle4"/>
    <dgm:cxn modelId="{C6B91D5D-2F02-4486-AE39-C44EEC75DAC4}" type="presOf" srcId="{3E852CB3-B9A0-47C4-B2D3-60883BCA1CA1}" destId="{F880890C-E0DB-4561-89DF-2CC0FF9360F6}" srcOrd="1" destOrd="0" presId="urn:microsoft.com/office/officeart/2005/8/layout/cycle4"/>
    <dgm:cxn modelId="{3CEDB05E-A443-4B05-9DF3-C0F42D5EDC76}" type="presOf" srcId="{C03B12CA-C127-4A9D-B567-EBA22F854EF2}" destId="{2FE30161-5C60-466C-9BF5-CEFA31F54EA4}" srcOrd="0" destOrd="4" presId="urn:microsoft.com/office/officeart/2005/8/layout/cycle4"/>
    <dgm:cxn modelId="{9E9AA05F-1AE7-427C-9081-FB058A3450EF}" srcId="{D851D966-4FFE-4248-A9C1-6453E25ADC83}" destId="{0929002E-3CFB-46F1-9DED-701E6BDDBBE5}" srcOrd="0" destOrd="0" parTransId="{AD8E2242-6023-4FA1-A34B-BE65322F502E}" sibTransId="{0D4F85F6-A19F-4209-A6A7-43F65AB97D31}"/>
    <dgm:cxn modelId="{DEDDF041-E200-4C34-833F-58439D2B837F}" srcId="{E4B4F9F4-D240-4EF9-8A3E-0060574F32FE}" destId="{C0B3F148-D3AB-4DE9-8484-36EFA907849C}" srcOrd="1" destOrd="0" parTransId="{CD72EACC-C299-4AEC-8B2F-673F67F78823}" sibTransId="{98EC97FF-47A0-4996-A0CE-CE0686EDB039}"/>
    <dgm:cxn modelId="{0ACBF245-0C3D-423C-8A03-D0F9254C8A0B}" type="presOf" srcId="{33918B2B-A56B-49E5-A99E-FB8B8DD62018}" destId="{0490E39C-4561-4FD8-A041-E2CE221E0201}" srcOrd="1" destOrd="2" presId="urn:microsoft.com/office/officeart/2005/8/layout/cycle4"/>
    <dgm:cxn modelId="{77D51667-E4BE-4C05-BBC2-001B239831BB}" type="presOf" srcId="{C0B3F148-D3AB-4DE9-8484-36EFA907849C}" destId="{C29649C1-A21A-4DA3-B338-7BCE30F32902}" srcOrd="0" destOrd="1" presId="urn:microsoft.com/office/officeart/2005/8/layout/cycle4"/>
    <dgm:cxn modelId="{0546C747-6BC3-40AF-B2A3-D7C83A0FBE80}" srcId="{D851D966-4FFE-4248-A9C1-6453E25ADC83}" destId="{33918B2B-A56B-49E5-A99E-FB8B8DD62018}" srcOrd="2" destOrd="0" parTransId="{771A4284-DC55-4997-B76F-6C9FAAC618D2}" sibTransId="{14DCBC2E-A508-4B64-981D-DA191D2B4917}"/>
    <dgm:cxn modelId="{D00FD767-3F81-4DF4-AC2F-161C7620830B}" type="presOf" srcId="{5E316323-377A-46B8-A4D4-E479C1061327}" destId="{075A8DE5-85A6-4DDB-8683-6AC871D00272}" srcOrd="0" destOrd="0" presId="urn:microsoft.com/office/officeart/2005/8/layout/cycle4"/>
    <dgm:cxn modelId="{77E50D6C-6018-4AA1-8160-17809E98F736}" type="presOf" srcId="{C0B3F148-D3AB-4DE9-8484-36EFA907849C}" destId="{3296EC63-F60C-416C-A940-CC7B10F00735}" srcOrd="1" destOrd="1" presId="urn:microsoft.com/office/officeart/2005/8/layout/cycle4"/>
    <dgm:cxn modelId="{AEEF4773-4E57-4AB2-9B98-C87F214302E4}" type="presOf" srcId="{360B8BA3-9BEE-40EC-9021-F57BFDFD9DE8}" destId="{B4C96BEC-98F9-4EC5-AC0B-14E5BD424531}" srcOrd="0" destOrd="0" presId="urn:microsoft.com/office/officeart/2005/8/layout/cycle4"/>
    <dgm:cxn modelId="{88BA1856-43D6-4E0F-82A9-28F977ABF6E3}" type="presOf" srcId="{8799AD75-C80E-4271-93C2-34DA1D23ED4F}" destId="{88A41F62-FAE9-43B9-9163-89540FD6DEC1}" srcOrd="0" destOrd="3" presId="urn:microsoft.com/office/officeart/2005/8/layout/cycle4"/>
    <dgm:cxn modelId="{2C848F76-D380-43B8-BB4D-9E529FEA29E5}" type="presOf" srcId="{ED32279F-D09A-438B-81D3-3AD624449CE2}" destId="{0490E39C-4561-4FD8-A041-E2CE221E0201}" srcOrd="1" destOrd="3" presId="urn:microsoft.com/office/officeart/2005/8/layout/cycle4"/>
    <dgm:cxn modelId="{185B4058-5DD3-4244-B8F2-0806394C2487}" type="presOf" srcId="{3E852CB3-B9A0-47C4-B2D3-60883BCA1CA1}" destId="{88A41F62-FAE9-43B9-9163-89540FD6DEC1}" srcOrd="0" destOrd="0" presId="urn:microsoft.com/office/officeart/2005/8/layout/cycle4"/>
    <dgm:cxn modelId="{9BA0547A-48AD-4932-A58B-192AAA1E39E1}" type="presOf" srcId="{A0D1D621-DA49-4B24-9D22-997E3493B32D}" destId="{2FE30161-5C60-466C-9BF5-CEFA31F54EA4}" srcOrd="0" destOrd="1" presId="urn:microsoft.com/office/officeart/2005/8/layout/cycle4"/>
    <dgm:cxn modelId="{4296607C-1C5E-47B1-A95C-27143FABD9AA}" type="presOf" srcId="{1C83024F-E411-41CF-A34F-1FB2BF6DFAE8}" destId="{F880890C-E0DB-4561-89DF-2CC0FF9360F6}" srcOrd="1" destOrd="2" presId="urn:microsoft.com/office/officeart/2005/8/layout/cycle4"/>
    <dgm:cxn modelId="{8A6CEB88-60F0-411A-8F28-6047C99099BC}" type="presOf" srcId="{C4A5E8B2-6FE7-4443-B27B-C5216D0E330C}" destId="{B4C96BEC-98F9-4EC5-AC0B-14E5BD424531}" srcOrd="0" destOrd="2" presId="urn:microsoft.com/office/officeart/2005/8/layout/cycle4"/>
    <dgm:cxn modelId="{63852A8A-B292-4273-B79D-57753CB8F4E0}" type="presOf" srcId="{8C87F9F4-5C07-4BCA-92AB-A2A5B4F95435}" destId="{A3B16A58-2DDC-4772-A2E5-036D308AB6DA}" srcOrd="0" destOrd="0" presId="urn:microsoft.com/office/officeart/2005/8/layout/cycle4"/>
    <dgm:cxn modelId="{AA2F7394-5781-4D49-BD1F-B45EF59D4D50}" type="presOf" srcId="{486C129E-19BA-42F5-AD85-4C9625721C2E}" destId="{3296EC63-F60C-416C-A940-CC7B10F00735}" srcOrd="1" destOrd="0" presId="urn:microsoft.com/office/officeart/2005/8/layout/cycle4"/>
    <dgm:cxn modelId="{E0A86395-4C33-4F42-943C-52804CBA0CF6}" srcId="{8C87F9F4-5C07-4BCA-92AB-A2A5B4F95435}" destId="{1C83024F-E411-41CF-A34F-1FB2BF6DFAE8}" srcOrd="2" destOrd="0" parTransId="{0025AB7E-6F71-4447-BF43-E8DD33C2E76D}" sibTransId="{60FD9605-9E1F-4EA8-B9D8-9C8F79B263C1}"/>
    <dgm:cxn modelId="{85DB93A1-ED97-45FE-8052-2D63B4280727}" type="presOf" srcId="{A0D1D621-DA49-4B24-9D22-997E3493B32D}" destId="{0490E39C-4561-4FD8-A041-E2CE221E0201}" srcOrd="1" destOrd="1" presId="urn:microsoft.com/office/officeart/2005/8/layout/cycle4"/>
    <dgm:cxn modelId="{BF6CEEA7-B79C-49B6-BBCB-C2F35D55C285}" srcId="{8C87F9F4-5C07-4BCA-92AB-A2A5B4F95435}" destId="{3E852CB3-B9A0-47C4-B2D3-60883BCA1CA1}" srcOrd="0" destOrd="0" parTransId="{EDBB7800-6DDB-4558-8FC8-C0BBF127EE1E}" sibTransId="{3E165C50-7E86-4743-8D75-7CCB095E30B2}"/>
    <dgm:cxn modelId="{8C7301AA-A618-47CB-8AD5-B88DB886D857}" type="presOf" srcId="{C03B12CA-C127-4A9D-B567-EBA22F854EF2}" destId="{0490E39C-4561-4FD8-A041-E2CE221E0201}" srcOrd="1" destOrd="4" presId="urn:microsoft.com/office/officeart/2005/8/layout/cycle4"/>
    <dgm:cxn modelId="{8E17A6AA-9F0D-4E5A-9EDD-2F5C90D6190F}" type="presOf" srcId="{19ECB9D4-007A-40A3-8BCB-BB55DB558947}" destId="{88A41F62-FAE9-43B9-9163-89540FD6DEC1}" srcOrd="0" destOrd="1" presId="urn:microsoft.com/office/officeart/2005/8/layout/cycle4"/>
    <dgm:cxn modelId="{F659BFB7-D9D5-4C7B-8DD5-EB42490C1C74}" srcId="{5E316323-377A-46B8-A4D4-E479C1061327}" destId="{360B8BA3-9BEE-40EC-9021-F57BFDFD9DE8}" srcOrd="0" destOrd="0" parTransId="{9DF11160-0D78-4317-8393-A4EB775A8F07}" sibTransId="{9772E835-DAF3-4BE6-BFB5-21B108368A1E}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EA01F1BE-F7A3-412C-9F55-B39BC855A8B3}" srcId="{7C456F81-39E8-4A49-BB92-6D9710B9C081}" destId="{E4B4F9F4-D240-4EF9-8A3E-0060574F32FE}" srcOrd="0" destOrd="0" parTransId="{686EE54E-2CC1-4ABF-B221-047AC1ECAA71}" sibTransId="{EC5EB5C7-F1A2-4FE5-A33B-B7B5FE53412C}"/>
    <dgm:cxn modelId="{9F95DCC0-B782-4921-8181-F4FE9DE96144}" type="presOf" srcId="{C4A5E8B2-6FE7-4443-B27B-C5216D0E330C}" destId="{2D81F979-A773-416C-BD04-9CD94B0F524A}" srcOrd="1" destOrd="2" presId="urn:microsoft.com/office/officeart/2005/8/layout/cycle4"/>
    <dgm:cxn modelId="{B4543BC5-96BE-4064-8A5A-4FEDB1F2AFEA}" type="presOf" srcId="{01144811-3E6A-4B10-9D28-C2C94578B690}" destId="{2D81F979-A773-416C-BD04-9CD94B0F524A}" srcOrd="1" destOrd="1" presId="urn:microsoft.com/office/officeart/2005/8/layout/cycle4"/>
    <dgm:cxn modelId="{F92726C7-A480-4260-974E-7E42349A7D00}" type="presOf" srcId="{33918B2B-A56B-49E5-A99E-FB8B8DD62018}" destId="{2FE30161-5C60-466C-9BF5-CEFA31F54EA4}" srcOrd="0" destOrd="2" presId="urn:microsoft.com/office/officeart/2005/8/layout/cycle4"/>
    <dgm:cxn modelId="{ABA46FC7-1D6F-48CE-A4D1-E536C9AE4690}" srcId="{5E316323-377A-46B8-A4D4-E479C1061327}" destId="{C4A5E8B2-6FE7-4443-B27B-C5216D0E330C}" srcOrd="2" destOrd="0" parTransId="{D6212ED3-FE7B-42BF-B63D-EF40702AC8A8}" sibTransId="{DD427D6D-9E2A-4FE7-85F7-EED83BBF7FC5}"/>
    <dgm:cxn modelId="{592387CB-F863-4082-AC3B-5CE459961FC7}" srcId="{5E316323-377A-46B8-A4D4-E479C1061327}" destId="{01144811-3E6A-4B10-9D28-C2C94578B690}" srcOrd="1" destOrd="0" parTransId="{167D2452-361D-4D97-84E5-9F38CACAD73B}" sibTransId="{4A2F5A53-F115-4B26-96B4-1C6FDDD0F286}"/>
    <dgm:cxn modelId="{DC8FCED3-C10C-4246-90B5-ED214E370E98}" srcId="{8C87F9F4-5C07-4BCA-92AB-A2A5B4F95435}" destId="{19ECB9D4-007A-40A3-8BCB-BB55DB558947}" srcOrd="1" destOrd="0" parTransId="{27ECC49D-8BBC-4C27-A2AE-FA41C31DA9D0}" sibTransId="{DF378767-2825-45EC-A6E2-073D75709781}"/>
    <dgm:cxn modelId="{2537BCD4-CC54-4193-B12B-37BBB1C8B0DB}" type="presOf" srcId="{7C456F81-39E8-4A49-BB92-6D9710B9C081}" destId="{BDE4CEE4-C47C-45EC-81AD-A1BC60FDF352}" srcOrd="0" destOrd="0" presId="urn:microsoft.com/office/officeart/2005/8/layout/cycle4"/>
    <dgm:cxn modelId="{07C483D8-56AD-4E28-A956-C6F0B66FA071}" type="presOf" srcId="{D851D966-4FFE-4248-A9C1-6453E25ADC83}" destId="{59459A3E-2B79-4498-9275-243D04AC410B}" srcOrd="0" destOrd="0" presId="urn:microsoft.com/office/officeart/2005/8/layout/cycle4"/>
    <dgm:cxn modelId="{0E4F96DE-D09C-4EC4-8B90-C4C5FAC82807}" srcId="{D851D966-4FFE-4248-A9C1-6453E25ADC83}" destId="{A0D1D621-DA49-4B24-9D22-997E3493B32D}" srcOrd="1" destOrd="0" parTransId="{E3ECB5E8-A935-4CFC-8698-EA5FF877B4E3}" sibTransId="{EAEA91CA-D5DB-4CEF-B363-98AB51DD8415}"/>
    <dgm:cxn modelId="{700C43DF-32FA-4A45-BC04-30B1836EF53F}" type="presOf" srcId="{19ECB9D4-007A-40A3-8BCB-BB55DB558947}" destId="{F880890C-E0DB-4561-89DF-2CC0FF9360F6}" srcOrd="1" destOrd="1" presId="urn:microsoft.com/office/officeart/2005/8/layout/cycle4"/>
    <dgm:cxn modelId="{2E5E16E2-4085-4B1D-8261-70A3BEFBE6A5}" type="presOf" srcId="{360B8BA3-9BEE-40EC-9021-F57BFDFD9DE8}" destId="{2D81F979-A773-416C-BD04-9CD94B0F524A}" srcOrd="1" destOrd="0" presId="urn:microsoft.com/office/officeart/2005/8/layout/cycle4"/>
    <dgm:cxn modelId="{C0E8DFE3-E502-40A7-B7A3-113EB2A097D8}" type="presOf" srcId="{1C83024F-E411-41CF-A34F-1FB2BF6DFAE8}" destId="{88A41F62-FAE9-43B9-9163-89540FD6DEC1}" srcOrd="0" destOrd="2" presId="urn:microsoft.com/office/officeart/2005/8/layout/cycle4"/>
    <dgm:cxn modelId="{A942A1E9-8B79-4026-AED5-0E36C4274B83}" srcId="{D851D966-4FFE-4248-A9C1-6453E25ADC83}" destId="{C03B12CA-C127-4A9D-B567-EBA22F854EF2}" srcOrd="4" destOrd="0" parTransId="{223AE657-B547-42D2-BCC0-100382CA802D}" sibTransId="{9EA55493-7F84-4ED3-AF96-676ED6F03F79}"/>
    <dgm:cxn modelId="{E5B183FA-F359-4FF2-B8BF-35CAE6F71480}" srcId="{7C456F81-39E8-4A49-BB92-6D9710B9C081}" destId="{5E316323-377A-46B8-A4D4-E479C1061327}" srcOrd="3" destOrd="0" parTransId="{5C5C39FD-74EE-486F-890E-28A1DAAF0B24}" sibTransId="{ECFC408D-DF0A-4D67-9B15-5D6A7CD7F7C3}"/>
    <dgm:cxn modelId="{2C2442FC-8EC2-427B-B621-EF64B6225861}" type="presOf" srcId="{E4B4F9F4-D240-4EF9-8A3E-0060574F32FE}" destId="{048FFB3B-5C29-49EB-AAB3-FDFCE6B26557}" srcOrd="0" destOrd="0" presId="urn:microsoft.com/office/officeart/2005/8/layout/cycle4"/>
    <dgm:cxn modelId="{19F995FE-0B57-4417-9C8C-3D99E84DA1BC}" type="presOf" srcId="{ED32279F-D09A-438B-81D3-3AD624449CE2}" destId="{2FE30161-5C60-466C-9BF5-CEFA31F54EA4}" srcOrd="0" destOrd="3" presId="urn:microsoft.com/office/officeart/2005/8/layout/cycle4"/>
    <dgm:cxn modelId="{53AC71FF-BF0D-4B49-B665-44186FEB4678}" type="presOf" srcId="{486C129E-19BA-42F5-AD85-4C9625721C2E}" destId="{C29649C1-A21A-4DA3-B338-7BCE30F32902}" srcOrd="0" destOrd="0" presId="urn:microsoft.com/office/officeart/2005/8/layout/cycle4"/>
    <dgm:cxn modelId="{1E3BDFB4-CE6B-48BC-AED5-3D33C908E606}" type="presParOf" srcId="{BDE4CEE4-C47C-45EC-81AD-A1BC60FDF352}" destId="{62491048-5F76-467B-AE99-5133D1177474}" srcOrd="0" destOrd="0" presId="urn:microsoft.com/office/officeart/2005/8/layout/cycle4"/>
    <dgm:cxn modelId="{37F9415F-C6D5-44A5-81A0-3E6FF1395ABF}" type="presParOf" srcId="{62491048-5F76-467B-AE99-5133D1177474}" destId="{6E853767-6E31-4444-AF02-7B2CBE101B8E}" srcOrd="0" destOrd="0" presId="urn:microsoft.com/office/officeart/2005/8/layout/cycle4"/>
    <dgm:cxn modelId="{9ED81D2A-1C3E-417B-A7B6-C1F91415EE9A}" type="presParOf" srcId="{6E853767-6E31-4444-AF02-7B2CBE101B8E}" destId="{C29649C1-A21A-4DA3-B338-7BCE30F32902}" srcOrd="0" destOrd="0" presId="urn:microsoft.com/office/officeart/2005/8/layout/cycle4"/>
    <dgm:cxn modelId="{5CE1AC24-FFDA-4ECB-9CB6-BB6126DB53DC}" type="presParOf" srcId="{6E853767-6E31-4444-AF02-7B2CBE101B8E}" destId="{3296EC63-F60C-416C-A940-CC7B10F00735}" srcOrd="1" destOrd="0" presId="urn:microsoft.com/office/officeart/2005/8/layout/cycle4"/>
    <dgm:cxn modelId="{EA7EFA47-7981-4224-8B86-452332F24C13}" type="presParOf" srcId="{62491048-5F76-467B-AE99-5133D1177474}" destId="{8303CC75-F15F-4FEE-ACBD-EA591A19E76D}" srcOrd="1" destOrd="0" presId="urn:microsoft.com/office/officeart/2005/8/layout/cycle4"/>
    <dgm:cxn modelId="{989817EA-FC9B-4958-917A-81778207712F}" type="presParOf" srcId="{8303CC75-F15F-4FEE-ACBD-EA591A19E76D}" destId="{2FE30161-5C60-466C-9BF5-CEFA31F54EA4}" srcOrd="0" destOrd="0" presId="urn:microsoft.com/office/officeart/2005/8/layout/cycle4"/>
    <dgm:cxn modelId="{E6B55021-C1CC-4B43-BF4C-63A304307B39}" type="presParOf" srcId="{8303CC75-F15F-4FEE-ACBD-EA591A19E76D}" destId="{0490E39C-4561-4FD8-A041-E2CE221E0201}" srcOrd="1" destOrd="0" presId="urn:microsoft.com/office/officeart/2005/8/layout/cycle4"/>
    <dgm:cxn modelId="{D9ACF86A-97FF-4334-BBC2-D3A71436FDDF}" type="presParOf" srcId="{62491048-5F76-467B-AE99-5133D1177474}" destId="{54800330-ABE4-45B8-A995-4267527DC675}" srcOrd="2" destOrd="0" presId="urn:microsoft.com/office/officeart/2005/8/layout/cycle4"/>
    <dgm:cxn modelId="{3E97A0D5-AABB-4CA4-BB37-D48658DB867F}" type="presParOf" srcId="{54800330-ABE4-45B8-A995-4267527DC675}" destId="{88A41F62-FAE9-43B9-9163-89540FD6DEC1}" srcOrd="0" destOrd="0" presId="urn:microsoft.com/office/officeart/2005/8/layout/cycle4"/>
    <dgm:cxn modelId="{1B6C8625-BCA9-4C9A-82E7-D4AFAA969454}" type="presParOf" srcId="{54800330-ABE4-45B8-A995-4267527DC675}" destId="{F880890C-E0DB-4561-89DF-2CC0FF9360F6}" srcOrd="1" destOrd="0" presId="urn:microsoft.com/office/officeart/2005/8/layout/cycle4"/>
    <dgm:cxn modelId="{4872445E-35F6-4A6E-8102-B4BEB09C5CE8}" type="presParOf" srcId="{62491048-5F76-467B-AE99-5133D1177474}" destId="{77607CE4-FF30-4062-968C-144ED4541439}" srcOrd="3" destOrd="0" presId="urn:microsoft.com/office/officeart/2005/8/layout/cycle4"/>
    <dgm:cxn modelId="{8A8C1B51-262B-4139-9589-11E52B876D82}" type="presParOf" srcId="{77607CE4-FF30-4062-968C-144ED4541439}" destId="{B4C96BEC-98F9-4EC5-AC0B-14E5BD424531}" srcOrd="0" destOrd="0" presId="urn:microsoft.com/office/officeart/2005/8/layout/cycle4"/>
    <dgm:cxn modelId="{E7F88C36-F776-45F9-A20A-A8134C77B8AA}" type="presParOf" srcId="{77607CE4-FF30-4062-968C-144ED4541439}" destId="{2D81F979-A773-416C-BD04-9CD94B0F524A}" srcOrd="1" destOrd="0" presId="urn:microsoft.com/office/officeart/2005/8/layout/cycle4"/>
    <dgm:cxn modelId="{BA4CA42B-F2C9-42EB-9C06-51378B7B2F8F}" type="presParOf" srcId="{62491048-5F76-467B-AE99-5133D1177474}" destId="{FDE757A6-8470-4F81-B7A1-D7B39E4E607E}" srcOrd="4" destOrd="0" presId="urn:microsoft.com/office/officeart/2005/8/layout/cycle4"/>
    <dgm:cxn modelId="{286B35D7-71B6-47B9-9AC1-F3AB1321BC3D}" type="presParOf" srcId="{BDE4CEE4-C47C-45EC-81AD-A1BC60FDF352}" destId="{384C7EE9-0388-4DA1-BD85-966B9DA5D161}" srcOrd="1" destOrd="0" presId="urn:microsoft.com/office/officeart/2005/8/layout/cycle4"/>
    <dgm:cxn modelId="{CAA6091D-25CE-4293-9EFD-CAC9FC0E1A1D}" type="presParOf" srcId="{384C7EE9-0388-4DA1-BD85-966B9DA5D161}" destId="{048FFB3B-5C29-49EB-AAB3-FDFCE6B26557}" srcOrd="0" destOrd="0" presId="urn:microsoft.com/office/officeart/2005/8/layout/cycle4"/>
    <dgm:cxn modelId="{98761579-7B9C-4BB1-B6BA-3971EF66368E}" type="presParOf" srcId="{384C7EE9-0388-4DA1-BD85-966B9DA5D161}" destId="{59459A3E-2B79-4498-9275-243D04AC410B}" srcOrd="1" destOrd="0" presId="urn:microsoft.com/office/officeart/2005/8/layout/cycle4"/>
    <dgm:cxn modelId="{6E40A1E4-D147-4F35-B243-12F63E8498C0}" type="presParOf" srcId="{384C7EE9-0388-4DA1-BD85-966B9DA5D161}" destId="{A3B16A58-2DDC-4772-A2E5-036D308AB6DA}" srcOrd="2" destOrd="0" presId="urn:microsoft.com/office/officeart/2005/8/layout/cycle4"/>
    <dgm:cxn modelId="{4E226DF9-61C9-4925-B10D-136FDFF6BF54}" type="presParOf" srcId="{384C7EE9-0388-4DA1-BD85-966B9DA5D161}" destId="{075A8DE5-85A6-4DDB-8683-6AC871D00272}" srcOrd="3" destOrd="0" presId="urn:microsoft.com/office/officeart/2005/8/layout/cycle4"/>
    <dgm:cxn modelId="{8F17C722-CDE4-4D80-952B-4B5B79269950}" type="presParOf" srcId="{384C7EE9-0388-4DA1-BD85-966B9DA5D161}" destId="{C4F9DF83-19E7-4294-9EAB-6E3226948A20}" srcOrd="4" destOrd="0" presId="urn:microsoft.com/office/officeart/2005/8/layout/cycle4"/>
    <dgm:cxn modelId="{87FF2E35-1BB5-4A03-BE67-C7DAA8BF92AC}" type="presParOf" srcId="{BDE4CEE4-C47C-45EC-81AD-A1BC60FDF352}" destId="{2934D2CC-D2D2-4613-8CAD-C85CD795A0B6}" srcOrd="2" destOrd="0" presId="urn:microsoft.com/office/officeart/2005/8/layout/cycle4"/>
    <dgm:cxn modelId="{BCA5A62C-2AB6-458D-B18A-313CD26C0BC5}" type="presParOf" srcId="{BDE4CEE4-C47C-45EC-81AD-A1BC60FDF352}" destId="{9212ADAD-FAEF-411D-AFA9-FF42E3FF5D3C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E4B4F9F4-D240-4EF9-8A3E-0060574F32F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pacitación : Análisis de proceso</a:t>
          </a: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929002E-3CFB-46F1-9DED-701E6BDDBBE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rga Archivos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A0D1D621-DA49-4B24-9D22-997E3493B32D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Flujo Visa</a:t>
          </a:r>
        </a:p>
      </dgm:t>
    </dgm:pt>
    <dgm:pt modelId="{E3ECB5E8-A935-4CFC-8698-EA5FF877B4E3}" type="par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AEA91CA-D5DB-4CEF-B363-98AB51DD8415}" type="sib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3918B2B-A56B-49E5-A99E-FB8B8DD6201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Flujo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Martercard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71A4284-DC55-4997-B76F-6C9FAAC618D2}" type="par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4DCBC2E-A508-4B64-981D-DA191D2B4917}" type="sib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851D966-4FFE-4248-A9C1-6453E25ADC83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sarrollo</a:t>
          </a:r>
        </a:p>
      </dgm:t>
    </dgm:pt>
    <dgm:pt modelId="{5E16AFD8-F9BA-4FD1-A09E-BF3EB0578E8E}" type="par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299E59F-7CA7-4FC3-AA01-D1FBB0859174}" type="sib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86C129E-19BA-42F5-AD85-4C9625721C2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Flujo Macro (Miro)</a:t>
          </a:r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C87F9F4-5C07-4BCA-92AB-A2A5B4F9543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Flujo Visa</a:t>
          </a:r>
        </a:p>
      </dgm:t>
    </dgm:pt>
    <dgm:pt modelId="{C90170B8-5182-4F3F-A080-9441DEDFD996}" type="par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EBC2197-080B-4783-816B-CDB3942CA110}" type="sib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E316323-377A-46B8-A4D4-E479C1061327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Flujo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Mstercard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C5C39FD-74EE-486F-890E-28A1DAAF0B24}" type="par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C408D-DF0A-4D67-9B15-5D6A7CD7F7C3}" type="sib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852CB3-B9A0-47C4-B2D3-60883BCA1CA1}">
      <dgm:prSet phldrT="[Texto]" custT="1"/>
      <dgm:spPr/>
      <dgm:t>
        <a:bodyPr/>
        <a:lstStyle/>
        <a:p>
          <a:pPr algn="ctr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DBB7800-6DDB-4558-8FC8-C0BBF127EE1E}" type="par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165C50-7E86-4743-8D75-7CCB095E30B2}" type="sib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60B8BA3-9BEE-40EC-9021-F57BFDFD9DE8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DF11160-0D78-4317-8393-A4EB775A8F07}" type="par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772E835-DAF3-4BE6-BFB5-21B108368A1E}" type="sib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B3F148-D3AB-4DE9-8484-36EFA907849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talle por Visa</a:t>
          </a:r>
        </a:p>
      </dgm:t>
    </dgm:pt>
    <dgm:pt modelId="{CD72EACC-C299-4AEC-8B2F-673F67F78823}" type="par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8EC97FF-47A0-4996-A0CE-CE0686EDB039}" type="sib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5EC8EC5-E027-4459-81C0-DE7CCE6DEEA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talle por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Mastercard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7BC18F4-84E6-4167-B9D4-7304DBED905A}" type="par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2572AD4-9071-4727-9D55-DFB358A543CC}" type="sib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1144811-3E6A-4B10-9D28-C2C94578B690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67D2452-361D-4D97-84E5-9F38CACAD73B}" type="par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A2F5A53-F115-4B26-96B4-1C6FDDD0F286}" type="sib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C83024F-E411-41CF-A34F-1FB2BF6DFAE8}">
      <dgm:prSet phldrT="[Texto]" custT="1"/>
      <dgm:spPr/>
      <dgm:t>
        <a:bodyPr/>
        <a:lstStyle/>
        <a:p>
          <a:pPr algn="ctr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025AB7E-6F71-4447-BF43-E8DD33C2E76D}" type="par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60FD9605-9E1F-4EA8-B9D8-9C8F79B263C1}" type="sib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799AD75-C80E-4271-93C2-34DA1D23ED4F}">
      <dgm:prSet phldrT="[Texto]" custT="1"/>
      <dgm:spPr/>
      <dgm:t>
        <a:bodyPr/>
        <a:lstStyle/>
        <a:p>
          <a:pPr algn="ctr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D2A9084-604E-43CF-A4CF-72DC21EA2934}" type="par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1E0072C-1879-43C0-90AD-12BCFEA3EB33}" type="sib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4A5E8B2-6FE7-4443-B27B-C5216D0E330C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6212ED3-FE7B-42BF-B63D-EF40702AC8A8}" type="par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D427D6D-9E2A-4FE7-85F7-EED83BBF7FC5}" type="sib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94E61-4084-44A1-AABA-9A689F685C6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sarrollo Procesos Ejecutores</a:t>
          </a:r>
        </a:p>
      </dgm:t>
    </dgm:pt>
    <dgm:pt modelId="{BD87D6B6-04C8-4739-AD36-76EAB8C1A15E}" type="parTrans" cxnId="{86D38FB3-7DDC-4070-8E9E-C31BEBECB6C8}">
      <dgm:prSet/>
      <dgm:spPr/>
      <dgm:t>
        <a:bodyPr/>
        <a:lstStyle/>
        <a:p>
          <a:endParaRPr lang="es-PE"/>
        </a:p>
      </dgm:t>
    </dgm:pt>
    <dgm:pt modelId="{CC16C7ED-2927-4E54-B009-DCFCA86ABBF0}" type="sibTrans" cxnId="{86D38FB3-7DDC-4070-8E9E-C31BEBECB6C8}">
      <dgm:prSet/>
      <dgm:spPr/>
      <dgm:t>
        <a:bodyPr/>
        <a:lstStyle/>
        <a:p>
          <a:endParaRPr lang="es-PE"/>
        </a:p>
      </dgm:t>
    </dgm:pt>
    <dgm:pt modelId="{4D814DF2-BCE6-42B9-8E30-C90BF63D7291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B0B52E20-56C1-4690-B7DA-AB16DAD0AAF4}" type="parTrans" cxnId="{6BEF8E37-3EF0-4147-A9B8-B653CCDF31A8}">
      <dgm:prSet/>
      <dgm:spPr/>
      <dgm:t>
        <a:bodyPr/>
        <a:lstStyle/>
        <a:p>
          <a:endParaRPr lang="es-PE"/>
        </a:p>
      </dgm:t>
    </dgm:pt>
    <dgm:pt modelId="{78B04E93-BBBC-43A8-A1A7-22DB77DA7688}" type="sibTrans" cxnId="{6BEF8E37-3EF0-4147-A9B8-B653CCDF31A8}">
      <dgm:prSet/>
      <dgm:spPr/>
      <dgm:t>
        <a:bodyPr/>
        <a:lstStyle/>
        <a:p>
          <a:endParaRPr lang="es-PE"/>
        </a:p>
      </dgm:t>
    </dgm:pt>
    <dgm:pt modelId="{4A0744C2-C0D9-423F-A68C-29A17515C566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979E49E-4D85-4291-8CCC-E84E6D906113}" type="parTrans" cxnId="{D19C2740-F297-4D07-8D35-18DE9385BE2F}">
      <dgm:prSet/>
      <dgm:spPr/>
      <dgm:t>
        <a:bodyPr/>
        <a:lstStyle/>
        <a:p>
          <a:endParaRPr lang="es-PE"/>
        </a:p>
      </dgm:t>
    </dgm:pt>
    <dgm:pt modelId="{81392C7C-2EF4-4465-90CB-57675D93DBA0}" type="sibTrans" cxnId="{D19C2740-F297-4D07-8D35-18DE9385BE2F}">
      <dgm:prSet/>
      <dgm:spPr/>
      <dgm:t>
        <a:bodyPr/>
        <a:lstStyle/>
        <a:p>
          <a:endParaRPr lang="es-PE"/>
        </a:p>
      </dgm:t>
    </dgm:pt>
    <dgm:pt modelId="{91582BEC-DE5A-4662-8627-FAC9CA581172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42E5849-ABA7-49EC-8025-935DA4F75F7A}" type="parTrans" cxnId="{8E49B4B1-FC63-49B8-BAD7-A60077C98AE8}">
      <dgm:prSet/>
      <dgm:spPr/>
      <dgm:t>
        <a:bodyPr/>
        <a:lstStyle/>
        <a:p>
          <a:endParaRPr lang="es-PE"/>
        </a:p>
      </dgm:t>
    </dgm:pt>
    <dgm:pt modelId="{F3E377B6-06D6-4DF9-99E8-B594BBDC001C}" type="sibTrans" cxnId="{8E49B4B1-FC63-49B8-BAD7-A60077C98AE8}">
      <dgm:prSet/>
      <dgm:spPr/>
      <dgm:t>
        <a:bodyPr/>
        <a:lstStyle/>
        <a:p>
          <a:endParaRPr lang="es-PE"/>
        </a:p>
      </dgm:t>
    </dgm:pt>
    <dgm:pt modelId="{EB03EB6B-9574-4EA5-A153-18382C1F2F1E}" type="pres">
      <dgm:prSet presAssocID="{7C456F81-39E8-4A49-BB92-6D9710B9C081}" presName="Name0" presStyleCnt="0">
        <dgm:presLayoutVars>
          <dgm:dir/>
          <dgm:animLvl val="lvl"/>
          <dgm:resizeHandles val="exact"/>
        </dgm:presLayoutVars>
      </dgm:prSet>
      <dgm:spPr/>
    </dgm:pt>
    <dgm:pt modelId="{D3C3096E-56A6-4096-8CE1-7234C99FF698}" type="pres">
      <dgm:prSet presAssocID="{ECF94E61-4084-44A1-AABA-9A689F685C6C}" presName="boxAndChildren" presStyleCnt="0"/>
      <dgm:spPr/>
    </dgm:pt>
    <dgm:pt modelId="{23E25BBB-CAA1-4613-9B0A-8E7313855BC1}" type="pres">
      <dgm:prSet presAssocID="{ECF94E61-4084-44A1-AABA-9A689F685C6C}" presName="parentTextBox" presStyleLbl="node1" presStyleIdx="0" presStyleCnt="5"/>
      <dgm:spPr/>
    </dgm:pt>
    <dgm:pt modelId="{9D4D0629-8307-48D1-983E-19A89023459E}" type="pres">
      <dgm:prSet presAssocID="{ECF94E61-4084-44A1-AABA-9A689F685C6C}" presName="entireBox" presStyleLbl="node1" presStyleIdx="0" presStyleCnt="5"/>
      <dgm:spPr/>
    </dgm:pt>
    <dgm:pt modelId="{0FD9A014-015D-443C-9B54-A3662BF4A3B5}" type="pres">
      <dgm:prSet presAssocID="{ECF94E61-4084-44A1-AABA-9A689F685C6C}" presName="descendantBox" presStyleCnt="0"/>
      <dgm:spPr/>
    </dgm:pt>
    <dgm:pt modelId="{DEBFAFF2-398E-4993-B947-F97E616F6405}" type="pres">
      <dgm:prSet presAssocID="{4D814DF2-BCE6-42B9-8E30-C90BF63D7291}" presName="childTextBox" presStyleLbl="fgAccFollowNode1" presStyleIdx="0" presStyleCnt="15">
        <dgm:presLayoutVars>
          <dgm:bulletEnabled val="1"/>
        </dgm:presLayoutVars>
      </dgm:prSet>
      <dgm:spPr/>
    </dgm:pt>
    <dgm:pt modelId="{635FF771-35C9-4403-A55A-FB31CB316DC3}" type="pres">
      <dgm:prSet presAssocID="{4A0744C2-C0D9-423F-A68C-29A17515C566}" presName="childTextBox" presStyleLbl="fgAccFollowNode1" presStyleIdx="1" presStyleCnt="15">
        <dgm:presLayoutVars>
          <dgm:bulletEnabled val="1"/>
        </dgm:presLayoutVars>
      </dgm:prSet>
      <dgm:spPr/>
    </dgm:pt>
    <dgm:pt modelId="{E20A101E-7118-4273-9932-D019582BC7E5}" type="pres">
      <dgm:prSet presAssocID="{91582BEC-DE5A-4662-8627-FAC9CA581172}" presName="childTextBox" presStyleLbl="fgAccFollowNode1" presStyleIdx="2" presStyleCnt="15">
        <dgm:presLayoutVars>
          <dgm:bulletEnabled val="1"/>
        </dgm:presLayoutVars>
      </dgm:prSet>
      <dgm:spPr/>
    </dgm:pt>
    <dgm:pt modelId="{A356B024-FED8-4F6C-A805-E4746E502B39}" type="pres">
      <dgm:prSet presAssocID="{ECFC408D-DF0A-4D67-9B15-5D6A7CD7F7C3}" presName="sp" presStyleCnt="0"/>
      <dgm:spPr/>
    </dgm:pt>
    <dgm:pt modelId="{E6D9A1BE-4E9C-4AAE-8D50-2B9A3A1DCC7F}" type="pres">
      <dgm:prSet presAssocID="{5E316323-377A-46B8-A4D4-E479C1061327}" presName="arrowAndChildren" presStyleCnt="0"/>
      <dgm:spPr/>
    </dgm:pt>
    <dgm:pt modelId="{5BEA4B0D-108A-402E-9342-32517FE70D18}" type="pres">
      <dgm:prSet presAssocID="{5E316323-377A-46B8-A4D4-E479C1061327}" presName="parentTextArrow" presStyleLbl="node1" presStyleIdx="0" presStyleCnt="5"/>
      <dgm:spPr/>
    </dgm:pt>
    <dgm:pt modelId="{AC2EE8B0-E87E-42A7-A10A-8C5F3FD4783F}" type="pres">
      <dgm:prSet presAssocID="{5E316323-377A-46B8-A4D4-E479C1061327}" presName="arrow" presStyleLbl="node1" presStyleIdx="1" presStyleCnt="5"/>
      <dgm:spPr/>
    </dgm:pt>
    <dgm:pt modelId="{8E35B08F-7893-43A6-ABE4-FC2EB7D14808}" type="pres">
      <dgm:prSet presAssocID="{5E316323-377A-46B8-A4D4-E479C1061327}" presName="descendantArrow" presStyleCnt="0"/>
      <dgm:spPr/>
    </dgm:pt>
    <dgm:pt modelId="{007CFC69-67D0-405F-A6F8-03FBB5EBCBD4}" type="pres">
      <dgm:prSet presAssocID="{360B8BA3-9BEE-40EC-9021-F57BFDFD9DE8}" presName="childTextArrow" presStyleLbl="fgAccFollowNode1" presStyleIdx="3" presStyleCnt="15">
        <dgm:presLayoutVars>
          <dgm:bulletEnabled val="1"/>
        </dgm:presLayoutVars>
      </dgm:prSet>
      <dgm:spPr/>
    </dgm:pt>
    <dgm:pt modelId="{D5A9615E-6D64-42C7-A7F4-7B2D96EEBF35}" type="pres">
      <dgm:prSet presAssocID="{01144811-3E6A-4B10-9D28-C2C94578B690}" presName="childTextArrow" presStyleLbl="fgAccFollowNode1" presStyleIdx="4" presStyleCnt="15">
        <dgm:presLayoutVars>
          <dgm:bulletEnabled val="1"/>
        </dgm:presLayoutVars>
      </dgm:prSet>
      <dgm:spPr/>
    </dgm:pt>
    <dgm:pt modelId="{2CE9A198-0D82-4501-923D-1C7A3202EBC9}" type="pres">
      <dgm:prSet presAssocID="{C4A5E8B2-6FE7-4443-B27B-C5216D0E330C}" presName="childTextArrow" presStyleLbl="fgAccFollowNode1" presStyleIdx="5" presStyleCnt="15">
        <dgm:presLayoutVars>
          <dgm:bulletEnabled val="1"/>
        </dgm:presLayoutVars>
      </dgm:prSet>
      <dgm:spPr/>
    </dgm:pt>
    <dgm:pt modelId="{3B5B80E6-D439-44F0-A337-A96C8DB6A6E1}" type="pres">
      <dgm:prSet presAssocID="{9EBC2197-080B-4783-816B-CDB3942CA110}" presName="sp" presStyleCnt="0"/>
      <dgm:spPr/>
    </dgm:pt>
    <dgm:pt modelId="{3FCA7FD0-DDE1-405C-9141-CFA4BEE19740}" type="pres">
      <dgm:prSet presAssocID="{8C87F9F4-5C07-4BCA-92AB-A2A5B4F95435}" presName="arrowAndChildren" presStyleCnt="0"/>
      <dgm:spPr/>
    </dgm:pt>
    <dgm:pt modelId="{88E62E39-32A8-419B-AE60-E8065A6CD1E2}" type="pres">
      <dgm:prSet presAssocID="{8C87F9F4-5C07-4BCA-92AB-A2A5B4F95435}" presName="parentTextArrow" presStyleLbl="node1" presStyleIdx="1" presStyleCnt="5"/>
      <dgm:spPr/>
    </dgm:pt>
    <dgm:pt modelId="{95AD91AD-CB62-4BD8-94F0-DFCC20ABD171}" type="pres">
      <dgm:prSet presAssocID="{8C87F9F4-5C07-4BCA-92AB-A2A5B4F95435}" presName="arrow" presStyleLbl="node1" presStyleIdx="2" presStyleCnt="5"/>
      <dgm:spPr/>
    </dgm:pt>
    <dgm:pt modelId="{49659649-2EF7-4586-A95B-58970F77117F}" type="pres">
      <dgm:prSet presAssocID="{8C87F9F4-5C07-4BCA-92AB-A2A5B4F95435}" presName="descendantArrow" presStyleCnt="0"/>
      <dgm:spPr/>
    </dgm:pt>
    <dgm:pt modelId="{9D8D2D06-5FB4-42DA-988C-D4400F8A15D7}" type="pres">
      <dgm:prSet presAssocID="{3E852CB3-B9A0-47C4-B2D3-60883BCA1CA1}" presName="childTextArrow" presStyleLbl="fgAccFollowNode1" presStyleIdx="6" presStyleCnt="15">
        <dgm:presLayoutVars>
          <dgm:bulletEnabled val="1"/>
        </dgm:presLayoutVars>
      </dgm:prSet>
      <dgm:spPr/>
    </dgm:pt>
    <dgm:pt modelId="{757C85E8-B454-49CD-8F22-D3E9EB042994}" type="pres">
      <dgm:prSet presAssocID="{1C83024F-E411-41CF-A34F-1FB2BF6DFAE8}" presName="childTextArrow" presStyleLbl="fgAccFollowNode1" presStyleIdx="7" presStyleCnt="15">
        <dgm:presLayoutVars>
          <dgm:bulletEnabled val="1"/>
        </dgm:presLayoutVars>
      </dgm:prSet>
      <dgm:spPr/>
    </dgm:pt>
    <dgm:pt modelId="{49A26938-D933-49A6-8EA8-CC39758147BA}" type="pres">
      <dgm:prSet presAssocID="{8799AD75-C80E-4271-93C2-34DA1D23ED4F}" presName="childTextArrow" presStyleLbl="fgAccFollowNode1" presStyleIdx="8" presStyleCnt="15">
        <dgm:presLayoutVars>
          <dgm:bulletEnabled val="1"/>
        </dgm:presLayoutVars>
      </dgm:prSet>
      <dgm:spPr/>
    </dgm:pt>
    <dgm:pt modelId="{5C7A3FD8-99A0-40CE-B189-AE89EE7F92DA}" type="pres">
      <dgm:prSet presAssocID="{F299E59F-7CA7-4FC3-AA01-D1FBB0859174}" presName="sp" presStyleCnt="0"/>
      <dgm:spPr/>
    </dgm:pt>
    <dgm:pt modelId="{9105E249-8148-470D-9574-1C494EBCD5E3}" type="pres">
      <dgm:prSet presAssocID="{D851D966-4FFE-4248-A9C1-6453E25ADC83}" presName="arrowAndChildren" presStyleCnt="0"/>
      <dgm:spPr/>
    </dgm:pt>
    <dgm:pt modelId="{354D8C0C-0917-4BA0-8481-476F3B64DDF6}" type="pres">
      <dgm:prSet presAssocID="{D851D966-4FFE-4248-A9C1-6453E25ADC83}" presName="parentTextArrow" presStyleLbl="node1" presStyleIdx="2" presStyleCnt="5"/>
      <dgm:spPr/>
    </dgm:pt>
    <dgm:pt modelId="{DE4459A0-95C5-4725-9F03-9A0AD2F9926A}" type="pres">
      <dgm:prSet presAssocID="{D851D966-4FFE-4248-A9C1-6453E25ADC83}" presName="arrow" presStyleLbl="node1" presStyleIdx="3" presStyleCnt="5"/>
      <dgm:spPr/>
    </dgm:pt>
    <dgm:pt modelId="{A5543260-F659-408F-9B54-DC9A6C06DF1F}" type="pres">
      <dgm:prSet presAssocID="{D851D966-4FFE-4248-A9C1-6453E25ADC83}" presName="descendantArrow" presStyleCnt="0"/>
      <dgm:spPr/>
    </dgm:pt>
    <dgm:pt modelId="{B6AD687A-D1FE-4304-8D99-21A7AA53D287}" type="pres">
      <dgm:prSet presAssocID="{0929002E-3CFB-46F1-9DED-701E6BDDBBE5}" presName="childTextArrow" presStyleLbl="fgAccFollowNode1" presStyleIdx="9" presStyleCnt="15">
        <dgm:presLayoutVars>
          <dgm:bulletEnabled val="1"/>
        </dgm:presLayoutVars>
      </dgm:prSet>
      <dgm:spPr/>
    </dgm:pt>
    <dgm:pt modelId="{62EB7941-A74D-4F18-8DE5-485D8A2C4F3A}" type="pres">
      <dgm:prSet presAssocID="{A0D1D621-DA49-4B24-9D22-997E3493B32D}" presName="childTextArrow" presStyleLbl="fgAccFollowNode1" presStyleIdx="10" presStyleCnt="15">
        <dgm:presLayoutVars>
          <dgm:bulletEnabled val="1"/>
        </dgm:presLayoutVars>
      </dgm:prSet>
      <dgm:spPr/>
    </dgm:pt>
    <dgm:pt modelId="{CEB0F7B0-2A19-4F09-BDC3-8C3B0ACA1B28}" type="pres">
      <dgm:prSet presAssocID="{33918B2B-A56B-49E5-A99E-FB8B8DD62018}" presName="childTextArrow" presStyleLbl="fgAccFollowNode1" presStyleIdx="11" presStyleCnt="15">
        <dgm:presLayoutVars>
          <dgm:bulletEnabled val="1"/>
        </dgm:presLayoutVars>
      </dgm:prSet>
      <dgm:spPr/>
    </dgm:pt>
    <dgm:pt modelId="{1713176F-A260-4F41-BE91-6CED18B891A8}" type="pres">
      <dgm:prSet presAssocID="{EC5EB5C7-F1A2-4FE5-A33B-B7B5FE53412C}" presName="sp" presStyleCnt="0"/>
      <dgm:spPr/>
    </dgm:pt>
    <dgm:pt modelId="{4B80C2B2-1C45-4E43-B99D-7E755D5F1010}" type="pres">
      <dgm:prSet presAssocID="{E4B4F9F4-D240-4EF9-8A3E-0060574F32FE}" presName="arrowAndChildren" presStyleCnt="0"/>
      <dgm:spPr/>
    </dgm:pt>
    <dgm:pt modelId="{7187319B-27A8-4119-9C65-A9B885720148}" type="pres">
      <dgm:prSet presAssocID="{E4B4F9F4-D240-4EF9-8A3E-0060574F32FE}" presName="parentTextArrow" presStyleLbl="node1" presStyleIdx="3" presStyleCnt="5"/>
      <dgm:spPr/>
    </dgm:pt>
    <dgm:pt modelId="{F88137AA-2751-494D-A2CA-74235065E832}" type="pres">
      <dgm:prSet presAssocID="{E4B4F9F4-D240-4EF9-8A3E-0060574F32FE}" presName="arrow" presStyleLbl="node1" presStyleIdx="4" presStyleCnt="5"/>
      <dgm:spPr/>
    </dgm:pt>
    <dgm:pt modelId="{17FADE8B-944B-4353-9345-07596CE7FC8F}" type="pres">
      <dgm:prSet presAssocID="{E4B4F9F4-D240-4EF9-8A3E-0060574F32FE}" presName="descendantArrow" presStyleCnt="0"/>
      <dgm:spPr/>
    </dgm:pt>
    <dgm:pt modelId="{0EDD97D6-9FCF-4BD4-9B78-0101DA09CB2A}" type="pres">
      <dgm:prSet presAssocID="{486C129E-19BA-42F5-AD85-4C9625721C2E}" presName="childTextArrow" presStyleLbl="fgAccFollowNode1" presStyleIdx="12" presStyleCnt="15">
        <dgm:presLayoutVars>
          <dgm:bulletEnabled val="1"/>
        </dgm:presLayoutVars>
      </dgm:prSet>
      <dgm:spPr/>
    </dgm:pt>
    <dgm:pt modelId="{5B48657E-BE30-4828-B247-6BF8C67A5417}" type="pres">
      <dgm:prSet presAssocID="{C0B3F148-D3AB-4DE9-8484-36EFA907849C}" presName="childTextArrow" presStyleLbl="fgAccFollowNode1" presStyleIdx="13" presStyleCnt="15">
        <dgm:presLayoutVars>
          <dgm:bulletEnabled val="1"/>
        </dgm:presLayoutVars>
      </dgm:prSet>
      <dgm:spPr/>
    </dgm:pt>
    <dgm:pt modelId="{775BC43A-FF86-4AE6-A97D-A464BAB13759}" type="pres">
      <dgm:prSet presAssocID="{F5EC8EC5-E027-4459-81C0-DE7CCE6DEEA5}" presName="childTextArrow" presStyleLbl="fgAccFollowNode1" presStyleIdx="14" presStyleCnt="15">
        <dgm:presLayoutVars>
          <dgm:bulletEnabled val="1"/>
        </dgm:presLayoutVars>
      </dgm:prSet>
      <dgm:spPr/>
    </dgm:pt>
  </dgm:ptLst>
  <dgm:cxnLst>
    <dgm:cxn modelId="{FC2A9C01-34C1-4FF4-AE6A-7A519836BAF6}" type="presOf" srcId="{A0D1D621-DA49-4B24-9D22-997E3493B32D}" destId="{62EB7941-A74D-4F18-8DE5-485D8A2C4F3A}" srcOrd="0" destOrd="0" presId="urn:microsoft.com/office/officeart/2005/8/layout/process4"/>
    <dgm:cxn modelId="{7E4CBA0E-DB61-48A6-906D-7BC1BB344639}" type="presOf" srcId="{E4B4F9F4-D240-4EF9-8A3E-0060574F32FE}" destId="{7187319B-27A8-4119-9C65-A9B885720148}" srcOrd="0" destOrd="0" presId="urn:microsoft.com/office/officeart/2005/8/layout/process4"/>
    <dgm:cxn modelId="{E9B8BA10-FC82-4C8E-8BE9-C2E69019A018}" srcId="{8C87F9F4-5C07-4BCA-92AB-A2A5B4F95435}" destId="{8799AD75-C80E-4271-93C2-34DA1D23ED4F}" srcOrd="2" destOrd="0" parTransId="{1D2A9084-604E-43CF-A4CF-72DC21EA2934}" sibTransId="{71E0072C-1879-43C0-90AD-12BCFEA3EB33}"/>
    <dgm:cxn modelId="{4E220113-5239-4BED-A92B-48EDBE16FA47}" type="presOf" srcId="{0929002E-3CFB-46F1-9DED-701E6BDDBBE5}" destId="{B6AD687A-D1FE-4304-8D99-21A7AA53D287}" srcOrd="0" destOrd="0" presId="urn:microsoft.com/office/officeart/2005/8/layout/process4"/>
    <dgm:cxn modelId="{BDBF4014-9DB3-4E4E-B72A-454B7E2B3097}" srcId="{7C456F81-39E8-4A49-BB92-6D9710B9C081}" destId="{D851D966-4FFE-4248-A9C1-6453E25ADC83}" srcOrd="1" destOrd="0" parTransId="{5E16AFD8-F9BA-4FD1-A09E-BF3EB0578E8E}" sibTransId="{F299E59F-7CA7-4FC3-AA01-D1FBB0859174}"/>
    <dgm:cxn modelId="{C5946918-E62E-4BD7-9743-80867A6A281E}" srcId="{7C456F81-39E8-4A49-BB92-6D9710B9C081}" destId="{8C87F9F4-5C07-4BCA-92AB-A2A5B4F95435}" srcOrd="2" destOrd="0" parTransId="{C90170B8-5182-4F3F-A080-9441DEDFD996}" sibTransId="{9EBC2197-080B-4783-816B-CDB3942CA110}"/>
    <dgm:cxn modelId="{1097FE20-EBA6-42F7-8CAD-E6201E37F456}" type="presOf" srcId="{360B8BA3-9BEE-40EC-9021-F57BFDFD9DE8}" destId="{007CFC69-67D0-405F-A6F8-03FBB5EBCBD4}" srcOrd="0" destOrd="0" presId="urn:microsoft.com/office/officeart/2005/8/layout/process4"/>
    <dgm:cxn modelId="{212D2521-FA9B-4E5B-B7C1-3B6A831A5B9F}" type="presOf" srcId="{8799AD75-C80E-4271-93C2-34DA1D23ED4F}" destId="{49A26938-D933-49A6-8EA8-CC39758147BA}" srcOrd="0" destOrd="0" presId="urn:microsoft.com/office/officeart/2005/8/layout/process4"/>
    <dgm:cxn modelId="{DFDECE35-D23E-4022-94E6-4E074FD1D7A6}" type="presOf" srcId="{E4B4F9F4-D240-4EF9-8A3E-0060574F32FE}" destId="{F88137AA-2751-494D-A2CA-74235065E832}" srcOrd="1" destOrd="0" presId="urn:microsoft.com/office/officeart/2005/8/layout/process4"/>
    <dgm:cxn modelId="{6BEF8E37-3EF0-4147-A9B8-B653CCDF31A8}" srcId="{ECF94E61-4084-44A1-AABA-9A689F685C6C}" destId="{4D814DF2-BCE6-42B9-8E30-C90BF63D7291}" srcOrd="0" destOrd="0" parTransId="{B0B52E20-56C1-4690-B7DA-AB16DAD0AAF4}" sibTransId="{78B04E93-BBBC-43A8-A1A7-22DB77DA7688}"/>
    <dgm:cxn modelId="{1516893E-4C1A-4671-9A6B-E0A43CF2FFB3}" type="presOf" srcId="{C0B3F148-D3AB-4DE9-8484-36EFA907849C}" destId="{5B48657E-BE30-4828-B247-6BF8C67A5417}" srcOrd="0" destOrd="0" presId="urn:microsoft.com/office/officeart/2005/8/layout/process4"/>
    <dgm:cxn modelId="{D19C2740-F297-4D07-8D35-18DE9385BE2F}" srcId="{ECF94E61-4084-44A1-AABA-9A689F685C6C}" destId="{4A0744C2-C0D9-423F-A68C-29A17515C566}" srcOrd="1" destOrd="0" parTransId="{9979E49E-4D85-4291-8CCC-E84E6D906113}" sibTransId="{81392C7C-2EF4-4465-90CB-57675D93DBA0}"/>
    <dgm:cxn modelId="{E586525D-DE5C-47F7-8AA3-BD50CF247832}" type="presOf" srcId="{D851D966-4FFE-4248-A9C1-6453E25ADC83}" destId="{DE4459A0-95C5-4725-9F03-9A0AD2F9926A}" srcOrd="1" destOrd="0" presId="urn:microsoft.com/office/officeart/2005/8/layout/process4"/>
    <dgm:cxn modelId="{9E9AA05F-1AE7-427C-9081-FB058A3450EF}" srcId="{D851D966-4FFE-4248-A9C1-6453E25ADC83}" destId="{0929002E-3CFB-46F1-9DED-701E6BDDBBE5}" srcOrd="0" destOrd="0" parTransId="{AD8E2242-6023-4FA1-A34B-BE65322F502E}" sibTransId="{0D4F85F6-A19F-4209-A6A7-43F65AB97D31}"/>
    <dgm:cxn modelId="{DEDDF041-E200-4C34-833F-58439D2B837F}" srcId="{E4B4F9F4-D240-4EF9-8A3E-0060574F32FE}" destId="{C0B3F148-D3AB-4DE9-8484-36EFA907849C}" srcOrd="1" destOrd="0" parTransId="{CD72EACC-C299-4AEC-8B2F-673F67F78823}" sibTransId="{98EC97FF-47A0-4996-A0CE-CE0686EDB039}"/>
    <dgm:cxn modelId="{FCAB3B63-22BF-45CB-B62D-8A3B39670C16}" type="presOf" srcId="{F5EC8EC5-E027-4459-81C0-DE7CCE6DEEA5}" destId="{775BC43A-FF86-4AE6-A97D-A464BAB13759}" srcOrd="0" destOrd="0" presId="urn:microsoft.com/office/officeart/2005/8/layout/process4"/>
    <dgm:cxn modelId="{0546C747-6BC3-40AF-B2A3-D7C83A0FBE80}" srcId="{D851D966-4FFE-4248-A9C1-6453E25ADC83}" destId="{33918B2B-A56B-49E5-A99E-FB8B8DD62018}" srcOrd="2" destOrd="0" parTransId="{771A4284-DC55-4997-B76F-6C9FAAC618D2}" sibTransId="{14DCBC2E-A508-4B64-981D-DA191D2B4917}"/>
    <dgm:cxn modelId="{78FC3068-D7B3-4DF8-91A7-F6C25B061CD9}" type="presOf" srcId="{4D814DF2-BCE6-42B9-8E30-C90BF63D7291}" destId="{DEBFAFF2-398E-4993-B947-F97E616F6405}" srcOrd="0" destOrd="0" presId="urn:microsoft.com/office/officeart/2005/8/layout/process4"/>
    <dgm:cxn modelId="{A1842479-5E5E-4FEC-9CE8-45D902445E7B}" type="presOf" srcId="{ECF94E61-4084-44A1-AABA-9A689F685C6C}" destId="{23E25BBB-CAA1-4613-9B0A-8E7313855BC1}" srcOrd="0" destOrd="0" presId="urn:microsoft.com/office/officeart/2005/8/layout/process4"/>
    <dgm:cxn modelId="{29705159-E322-4084-B2CE-64B35F5EFA1B}" type="presOf" srcId="{33918B2B-A56B-49E5-A99E-FB8B8DD62018}" destId="{CEB0F7B0-2A19-4F09-BDC3-8C3B0ACA1B28}" srcOrd="0" destOrd="0" presId="urn:microsoft.com/office/officeart/2005/8/layout/process4"/>
    <dgm:cxn modelId="{24AAB383-71A1-453A-B304-4CDC76916177}" type="presOf" srcId="{C4A5E8B2-6FE7-4443-B27B-C5216D0E330C}" destId="{2CE9A198-0D82-4501-923D-1C7A3202EBC9}" srcOrd="0" destOrd="0" presId="urn:microsoft.com/office/officeart/2005/8/layout/process4"/>
    <dgm:cxn modelId="{28AE7A87-3A68-4006-9467-1365C0060C13}" type="presOf" srcId="{7C456F81-39E8-4A49-BB92-6D9710B9C081}" destId="{EB03EB6B-9574-4EA5-A153-18382C1F2F1E}" srcOrd="0" destOrd="0" presId="urn:microsoft.com/office/officeart/2005/8/layout/process4"/>
    <dgm:cxn modelId="{72B5BD94-EFB1-4D31-89FD-3BF9531C23C0}" type="presOf" srcId="{ECF94E61-4084-44A1-AABA-9A689F685C6C}" destId="{9D4D0629-8307-48D1-983E-19A89023459E}" srcOrd="1" destOrd="0" presId="urn:microsoft.com/office/officeart/2005/8/layout/process4"/>
    <dgm:cxn modelId="{E0A86395-4C33-4F42-943C-52804CBA0CF6}" srcId="{8C87F9F4-5C07-4BCA-92AB-A2A5B4F95435}" destId="{1C83024F-E411-41CF-A34F-1FB2BF6DFAE8}" srcOrd="1" destOrd="0" parTransId="{0025AB7E-6F71-4447-BF43-E8DD33C2E76D}" sibTransId="{60FD9605-9E1F-4EA8-B9D8-9C8F79B263C1}"/>
    <dgm:cxn modelId="{E31B029B-72C3-4515-9800-7E4538032B54}" type="presOf" srcId="{91582BEC-DE5A-4662-8627-FAC9CA581172}" destId="{E20A101E-7118-4273-9932-D019582BC7E5}" srcOrd="0" destOrd="0" presId="urn:microsoft.com/office/officeart/2005/8/layout/process4"/>
    <dgm:cxn modelId="{1FFE229D-DDC7-4828-9C7A-BB0DDC279C76}" type="presOf" srcId="{4A0744C2-C0D9-423F-A68C-29A17515C566}" destId="{635FF771-35C9-4403-A55A-FB31CB316DC3}" srcOrd="0" destOrd="0" presId="urn:microsoft.com/office/officeart/2005/8/layout/process4"/>
    <dgm:cxn modelId="{199137A4-C638-42F4-8610-6B55209B4A2E}" type="presOf" srcId="{486C129E-19BA-42F5-AD85-4C9625721C2E}" destId="{0EDD97D6-9FCF-4BD4-9B78-0101DA09CB2A}" srcOrd="0" destOrd="0" presId="urn:microsoft.com/office/officeart/2005/8/layout/process4"/>
    <dgm:cxn modelId="{BF6CEEA7-B79C-49B6-BBCB-C2F35D55C285}" srcId="{8C87F9F4-5C07-4BCA-92AB-A2A5B4F95435}" destId="{3E852CB3-B9A0-47C4-B2D3-60883BCA1CA1}" srcOrd="0" destOrd="0" parTransId="{EDBB7800-6DDB-4558-8FC8-C0BBF127EE1E}" sibTransId="{3E165C50-7E86-4743-8D75-7CCB095E30B2}"/>
    <dgm:cxn modelId="{02553EAA-3EAA-4D05-86DE-21CD4335B209}" type="presOf" srcId="{5E316323-377A-46B8-A4D4-E479C1061327}" destId="{AC2EE8B0-E87E-42A7-A10A-8C5F3FD4783F}" srcOrd="1" destOrd="0" presId="urn:microsoft.com/office/officeart/2005/8/layout/process4"/>
    <dgm:cxn modelId="{AB049FAC-75AE-448B-8CF3-A0CA18C8F25D}" type="presOf" srcId="{D851D966-4FFE-4248-A9C1-6453E25ADC83}" destId="{354D8C0C-0917-4BA0-8481-476F3B64DDF6}" srcOrd="0" destOrd="0" presId="urn:microsoft.com/office/officeart/2005/8/layout/process4"/>
    <dgm:cxn modelId="{60B3C5AF-2852-4A52-B4FB-8A34543BEDDC}" type="presOf" srcId="{5E316323-377A-46B8-A4D4-E479C1061327}" destId="{5BEA4B0D-108A-402E-9342-32517FE70D18}" srcOrd="0" destOrd="0" presId="urn:microsoft.com/office/officeart/2005/8/layout/process4"/>
    <dgm:cxn modelId="{EF1894B1-786B-4C9F-8FA3-0BA98A71499E}" type="presOf" srcId="{01144811-3E6A-4B10-9D28-C2C94578B690}" destId="{D5A9615E-6D64-42C7-A7F4-7B2D96EEBF35}" srcOrd="0" destOrd="0" presId="urn:microsoft.com/office/officeart/2005/8/layout/process4"/>
    <dgm:cxn modelId="{8E49B4B1-FC63-49B8-BAD7-A60077C98AE8}" srcId="{ECF94E61-4084-44A1-AABA-9A689F685C6C}" destId="{91582BEC-DE5A-4662-8627-FAC9CA581172}" srcOrd="2" destOrd="0" parTransId="{342E5849-ABA7-49EC-8025-935DA4F75F7A}" sibTransId="{F3E377B6-06D6-4DF9-99E8-B594BBDC001C}"/>
    <dgm:cxn modelId="{86D38FB3-7DDC-4070-8E9E-C31BEBECB6C8}" srcId="{7C456F81-39E8-4A49-BB92-6D9710B9C081}" destId="{ECF94E61-4084-44A1-AABA-9A689F685C6C}" srcOrd="4" destOrd="0" parTransId="{BD87D6B6-04C8-4739-AD36-76EAB8C1A15E}" sibTransId="{CC16C7ED-2927-4E54-B009-DCFCA86ABBF0}"/>
    <dgm:cxn modelId="{BADC30B5-6E31-4F3A-AC0D-69D148CCD2ED}" srcId="{E4B4F9F4-D240-4EF9-8A3E-0060574F32FE}" destId="{F5EC8EC5-E027-4459-81C0-DE7CCE6DEEA5}" srcOrd="2" destOrd="0" parTransId="{37BC18F4-84E6-4167-B9D4-7304DBED905A}" sibTransId="{72572AD4-9071-4727-9D55-DFB358A543CC}"/>
    <dgm:cxn modelId="{F659BFB7-D9D5-4C7B-8DD5-EB42490C1C74}" srcId="{5E316323-377A-46B8-A4D4-E479C1061327}" destId="{360B8BA3-9BEE-40EC-9021-F57BFDFD9DE8}" srcOrd="0" destOrd="0" parTransId="{9DF11160-0D78-4317-8393-A4EB775A8F07}" sibTransId="{9772E835-DAF3-4BE6-BFB5-21B108368A1E}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18EB9DBE-20E5-486B-A18F-F91E0E8A8A40}" type="presOf" srcId="{1C83024F-E411-41CF-A34F-1FB2BF6DFAE8}" destId="{757C85E8-B454-49CD-8F22-D3E9EB042994}" srcOrd="0" destOrd="0" presId="urn:microsoft.com/office/officeart/2005/8/layout/process4"/>
    <dgm:cxn modelId="{EA01F1BE-F7A3-412C-9F55-B39BC855A8B3}" srcId="{7C456F81-39E8-4A49-BB92-6D9710B9C081}" destId="{E4B4F9F4-D240-4EF9-8A3E-0060574F32FE}" srcOrd="0" destOrd="0" parTransId="{686EE54E-2CC1-4ABF-B221-047AC1ECAA71}" sibTransId="{EC5EB5C7-F1A2-4FE5-A33B-B7B5FE53412C}"/>
    <dgm:cxn modelId="{ABA46FC7-1D6F-48CE-A4D1-E536C9AE4690}" srcId="{5E316323-377A-46B8-A4D4-E479C1061327}" destId="{C4A5E8B2-6FE7-4443-B27B-C5216D0E330C}" srcOrd="2" destOrd="0" parTransId="{D6212ED3-FE7B-42BF-B63D-EF40702AC8A8}" sibTransId="{DD427D6D-9E2A-4FE7-85F7-EED83BBF7FC5}"/>
    <dgm:cxn modelId="{592387CB-F863-4082-AC3B-5CE459961FC7}" srcId="{5E316323-377A-46B8-A4D4-E479C1061327}" destId="{01144811-3E6A-4B10-9D28-C2C94578B690}" srcOrd="1" destOrd="0" parTransId="{167D2452-361D-4D97-84E5-9F38CACAD73B}" sibTransId="{4A2F5A53-F115-4B26-96B4-1C6FDDD0F286}"/>
    <dgm:cxn modelId="{9DDC52D3-9ACB-4F74-A722-C7F34EA681A0}" type="presOf" srcId="{3E852CB3-B9A0-47C4-B2D3-60883BCA1CA1}" destId="{9D8D2D06-5FB4-42DA-988C-D4400F8A15D7}" srcOrd="0" destOrd="0" presId="urn:microsoft.com/office/officeart/2005/8/layout/process4"/>
    <dgm:cxn modelId="{0E4F96DE-D09C-4EC4-8B90-C4C5FAC82807}" srcId="{D851D966-4FFE-4248-A9C1-6453E25ADC83}" destId="{A0D1D621-DA49-4B24-9D22-997E3493B32D}" srcOrd="1" destOrd="0" parTransId="{E3ECB5E8-A935-4CFC-8698-EA5FF877B4E3}" sibTransId="{EAEA91CA-D5DB-4CEF-B363-98AB51DD8415}"/>
    <dgm:cxn modelId="{6D7E6CE3-76F7-4624-BC25-4A8AF12EFE03}" type="presOf" srcId="{8C87F9F4-5C07-4BCA-92AB-A2A5B4F95435}" destId="{88E62E39-32A8-419B-AE60-E8065A6CD1E2}" srcOrd="0" destOrd="0" presId="urn:microsoft.com/office/officeart/2005/8/layout/process4"/>
    <dgm:cxn modelId="{857FC2E7-6FBE-48E8-9032-BA22D22B616C}" type="presOf" srcId="{8C87F9F4-5C07-4BCA-92AB-A2A5B4F95435}" destId="{95AD91AD-CB62-4BD8-94F0-DFCC20ABD171}" srcOrd="1" destOrd="0" presId="urn:microsoft.com/office/officeart/2005/8/layout/process4"/>
    <dgm:cxn modelId="{E5B183FA-F359-4FF2-B8BF-35CAE6F71480}" srcId="{7C456F81-39E8-4A49-BB92-6D9710B9C081}" destId="{5E316323-377A-46B8-A4D4-E479C1061327}" srcOrd="3" destOrd="0" parTransId="{5C5C39FD-74EE-486F-890E-28A1DAAF0B24}" sibTransId="{ECFC408D-DF0A-4D67-9B15-5D6A7CD7F7C3}"/>
    <dgm:cxn modelId="{1426243D-5367-49B5-86BF-CBA8853BEFED}" type="presParOf" srcId="{EB03EB6B-9574-4EA5-A153-18382C1F2F1E}" destId="{D3C3096E-56A6-4096-8CE1-7234C99FF698}" srcOrd="0" destOrd="0" presId="urn:microsoft.com/office/officeart/2005/8/layout/process4"/>
    <dgm:cxn modelId="{61A0AC50-CB54-4612-93B8-010957206BF6}" type="presParOf" srcId="{D3C3096E-56A6-4096-8CE1-7234C99FF698}" destId="{23E25BBB-CAA1-4613-9B0A-8E7313855BC1}" srcOrd="0" destOrd="0" presId="urn:microsoft.com/office/officeart/2005/8/layout/process4"/>
    <dgm:cxn modelId="{F2DB6199-EEE5-4A67-A214-7FCB762C675A}" type="presParOf" srcId="{D3C3096E-56A6-4096-8CE1-7234C99FF698}" destId="{9D4D0629-8307-48D1-983E-19A89023459E}" srcOrd="1" destOrd="0" presId="urn:microsoft.com/office/officeart/2005/8/layout/process4"/>
    <dgm:cxn modelId="{18311A6E-A855-4364-97E1-5B6BEDBADB8D}" type="presParOf" srcId="{D3C3096E-56A6-4096-8CE1-7234C99FF698}" destId="{0FD9A014-015D-443C-9B54-A3662BF4A3B5}" srcOrd="2" destOrd="0" presId="urn:microsoft.com/office/officeart/2005/8/layout/process4"/>
    <dgm:cxn modelId="{B8B568A4-D73A-435B-A160-76BAEFC98167}" type="presParOf" srcId="{0FD9A014-015D-443C-9B54-A3662BF4A3B5}" destId="{DEBFAFF2-398E-4993-B947-F97E616F6405}" srcOrd="0" destOrd="0" presId="urn:microsoft.com/office/officeart/2005/8/layout/process4"/>
    <dgm:cxn modelId="{D605EF61-3E57-4FBC-85A4-3F6255330440}" type="presParOf" srcId="{0FD9A014-015D-443C-9B54-A3662BF4A3B5}" destId="{635FF771-35C9-4403-A55A-FB31CB316DC3}" srcOrd="1" destOrd="0" presId="urn:microsoft.com/office/officeart/2005/8/layout/process4"/>
    <dgm:cxn modelId="{84C9D22A-20B7-453D-9825-482E9704757F}" type="presParOf" srcId="{0FD9A014-015D-443C-9B54-A3662BF4A3B5}" destId="{E20A101E-7118-4273-9932-D019582BC7E5}" srcOrd="2" destOrd="0" presId="urn:microsoft.com/office/officeart/2005/8/layout/process4"/>
    <dgm:cxn modelId="{84F965F3-4D19-49DD-9D1A-072A49592275}" type="presParOf" srcId="{EB03EB6B-9574-4EA5-A153-18382C1F2F1E}" destId="{A356B024-FED8-4F6C-A805-E4746E502B39}" srcOrd="1" destOrd="0" presId="urn:microsoft.com/office/officeart/2005/8/layout/process4"/>
    <dgm:cxn modelId="{C407BA8A-B8F9-4DBC-AB51-B769A0215587}" type="presParOf" srcId="{EB03EB6B-9574-4EA5-A153-18382C1F2F1E}" destId="{E6D9A1BE-4E9C-4AAE-8D50-2B9A3A1DCC7F}" srcOrd="2" destOrd="0" presId="urn:microsoft.com/office/officeart/2005/8/layout/process4"/>
    <dgm:cxn modelId="{6B1F632F-B8BB-43D8-A206-0FD3E73BFAF5}" type="presParOf" srcId="{E6D9A1BE-4E9C-4AAE-8D50-2B9A3A1DCC7F}" destId="{5BEA4B0D-108A-402E-9342-32517FE70D18}" srcOrd="0" destOrd="0" presId="urn:microsoft.com/office/officeart/2005/8/layout/process4"/>
    <dgm:cxn modelId="{BD723F0B-FFE8-497E-85CF-6A18DE025BEB}" type="presParOf" srcId="{E6D9A1BE-4E9C-4AAE-8D50-2B9A3A1DCC7F}" destId="{AC2EE8B0-E87E-42A7-A10A-8C5F3FD4783F}" srcOrd="1" destOrd="0" presId="urn:microsoft.com/office/officeart/2005/8/layout/process4"/>
    <dgm:cxn modelId="{86C094D5-D4E5-44A9-A953-D1F801E988B6}" type="presParOf" srcId="{E6D9A1BE-4E9C-4AAE-8D50-2B9A3A1DCC7F}" destId="{8E35B08F-7893-43A6-ABE4-FC2EB7D14808}" srcOrd="2" destOrd="0" presId="urn:microsoft.com/office/officeart/2005/8/layout/process4"/>
    <dgm:cxn modelId="{51488247-1426-471B-93CC-1B15D2E6593F}" type="presParOf" srcId="{8E35B08F-7893-43A6-ABE4-FC2EB7D14808}" destId="{007CFC69-67D0-405F-A6F8-03FBB5EBCBD4}" srcOrd="0" destOrd="0" presId="urn:microsoft.com/office/officeart/2005/8/layout/process4"/>
    <dgm:cxn modelId="{7AE188C3-0D86-4F47-8956-72BAA66EFACC}" type="presParOf" srcId="{8E35B08F-7893-43A6-ABE4-FC2EB7D14808}" destId="{D5A9615E-6D64-42C7-A7F4-7B2D96EEBF35}" srcOrd="1" destOrd="0" presId="urn:microsoft.com/office/officeart/2005/8/layout/process4"/>
    <dgm:cxn modelId="{682217E3-81B5-4741-9888-36E74260EC48}" type="presParOf" srcId="{8E35B08F-7893-43A6-ABE4-FC2EB7D14808}" destId="{2CE9A198-0D82-4501-923D-1C7A3202EBC9}" srcOrd="2" destOrd="0" presId="urn:microsoft.com/office/officeart/2005/8/layout/process4"/>
    <dgm:cxn modelId="{5E81BB18-A888-43CC-89BA-63D55BCF30BF}" type="presParOf" srcId="{EB03EB6B-9574-4EA5-A153-18382C1F2F1E}" destId="{3B5B80E6-D439-44F0-A337-A96C8DB6A6E1}" srcOrd="3" destOrd="0" presId="urn:microsoft.com/office/officeart/2005/8/layout/process4"/>
    <dgm:cxn modelId="{5A19BBD2-DA14-44B0-93A8-3D28A1B1FD0C}" type="presParOf" srcId="{EB03EB6B-9574-4EA5-A153-18382C1F2F1E}" destId="{3FCA7FD0-DDE1-405C-9141-CFA4BEE19740}" srcOrd="4" destOrd="0" presId="urn:microsoft.com/office/officeart/2005/8/layout/process4"/>
    <dgm:cxn modelId="{C8E3D2F1-4616-4AAD-911C-76700EF3330B}" type="presParOf" srcId="{3FCA7FD0-DDE1-405C-9141-CFA4BEE19740}" destId="{88E62E39-32A8-419B-AE60-E8065A6CD1E2}" srcOrd="0" destOrd="0" presId="urn:microsoft.com/office/officeart/2005/8/layout/process4"/>
    <dgm:cxn modelId="{CEA21E01-227E-4679-84CF-4EF54B276DB6}" type="presParOf" srcId="{3FCA7FD0-DDE1-405C-9141-CFA4BEE19740}" destId="{95AD91AD-CB62-4BD8-94F0-DFCC20ABD171}" srcOrd="1" destOrd="0" presId="urn:microsoft.com/office/officeart/2005/8/layout/process4"/>
    <dgm:cxn modelId="{3869FD21-98F3-4DC0-B341-EC7D8E50B289}" type="presParOf" srcId="{3FCA7FD0-DDE1-405C-9141-CFA4BEE19740}" destId="{49659649-2EF7-4586-A95B-58970F77117F}" srcOrd="2" destOrd="0" presId="urn:microsoft.com/office/officeart/2005/8/layout/process4"/>
    <dgm:cxn modelId="{8B80D072-467C-43A5-B396-DB2A8C614AA4}" type="presParOf" srcId="{49659649-2EF7-4586-A95B-58970F77117F}" destId="{9D8D2D06-5FB4-42DA-988C-D4400F8A15D7}" srcOrd="0" destOrd="0" presId="urn:microsoft.com/office/officeart/2005/8/layout/process4"/>
    <dgm:cxn modelId="{2BD24688-C5C6-4777-8B4C-61402AE4305A}" type="presParOf" srcId="{49659649-2EF7-4586-A95B-58970F77117F}" destId="{757C85E8-B454-49CD-8F22-D3E9EB042994}" srcOrd="1" destOrd="0" presId="urn:microsoft.com/office/officeart/2005/8/layout/process4"/>
    <dgm:cxn modelId="{ED458666-95E1-4DE7-8C92-18DAA5B11F75}" type="presParOf" srcId="{49659649-2EF7-4586-A95B-58970F77117F}" destId="{49A26938-D933-49A6-8EA8-CC39758147BA}" srcOrd="2" destOrd="0" presId="urn:microsoft.com/office/officeart/2005/8/layout/process4"/>
    <dgm:cxn modelId="{C37EECDB-B0D5-4A63-BEB6-467703E3FB05}" type="presParOf" srcId="{EB03EB6B-9574-4EA5-A153-18382C1F2F1E}" destId="{5C7A3FD8-99A0-40CE-B189-AE89EE7F92DA}" srcOrd="5" destOrd="0" presId="urn:microsoft.com/office/officeart/2005/8/layout/process4"/>
    <dgm:cxn modelId="{62D44498-FB3A-483F-82B8-B79064F3756F}" type="presParOf" srcId="{EB03EB6B-9574-4EA5-A153-18382C1F2F1E}" destId="{9105E249-8148-470D-9574-1C494EBCD5E3}" srcOrd="6" destOrd="0" presId="urn:microsoft.com/office/officeart/2005/8/layout/process4"/>
    <dgm:cxn modelId="{2BC045D2-AE29-4733-A160-627CF9059BFE}" type="presParOf" srcId="{9105E249-8148-470D-9574-1C494EBCD5E3}" destId="{354D8C0C-0917-4BA0-8481-476F3B64DDF6}" srcOrd="0" destOrd="0" presId="urn:microsoft.com/office/officeart/2005/8/layout/process4"/>
    <dgm:cxn modelId="{3A600F2A-CCAD-49A9-BBB3-E181F84D224C}" type="presParOf" srcId="{9105E249-8148-470D-9574-1C494EBCD5E3}" destId="{DE4459A0-95C5-4725-9F03-9A0AD2F9926A}" srcOrd="1" destOrd="0" presId="urn:microsoft.com/office/officeart/2005/8/layout/process4"/>
    <dgm:cxn modelId="{AD507E45-5C62-4FEC-B779-5A03C53A1631}" type="presParOf" srcId="{9105E249-8148-470D-9574-1C494EBCD5E3}" destId="{A5543260-F659-408F-9B54-DC9A6C06DF1F}" srcOrd="2" destOrd="0" presId="urn:microsoft.com/office/officeart/2005/8/layout/process4"/>
    <dgm:cxn modelId="{7A3AECCF-5836-413F-9275-712F989489AA}" type="presParOf" srcId="{A5543260-F659-408F-9B54-DC9A6C06DF1F}" destId="{B6AD687A-D1FE-4304-8D99-21A7AA53D287}" srcOrd="0" destOrd="0" presId="urn:microsoft.com/office/officeart/2005/8/layout/process4"/>
    <dgm:cxn modelId="{61CB0C56-3322-4F47-9201-502B74520E83}" type="presParOf" srcId="{A5543260-F659-408F-9B54-DC9A6C06DF1F}" destId="{62EB7941-A74D-4F18-8DE5-485D8A2C4F3A}" srcOrd="1" destOrd="0" presId="urn:microsoft.com/office/officeart/2005/8/layout/process4"/>
    <dgm:cxn modelId="{EE01AE9F-027A-4415-9ADC-458E2A20058A}" type="presParOf" srcId="{A5543260-F659-408F-9B54-DC9A6C06DF1F}" destId="{CEB0F7B0-2A19-4F09-BDC3-8C3B0ACA1B28}" srcOrd="2" destOrd="0" presId="urn:microsoft.com/office/officeart/2005/8/layout/process4"/>
    <dgm:cxn modelId="{030C419F-30B9-4F59-B82C-F0A32614720F}" type="presParOf" srcId="{EB03EB6B-9574-4EA5-A153-18382C1F2F1E}" destId="{1713176F-A260-4F41-BE91-6CED18B891A8}" srcOrd="7" destOrd="0" presId="urn:microsoft.com/office/officeart/2005/8/layout/process4"/>
    <dgm:cxn modelId="{5E46E6D5-6D76-4030-BAC7-77C1FBD7F027}" type="presParOf" srcId="{EB03EB6B-9574-4EA5-A153-18382C1F2F1E}" destId="{4B80C2B2-1C45-4E43-B99D-7E755D5F1010}" srcOrd="8" destOrd="0" presId="urn:microsoft.com/office/officeart/2005/8/layout/process4"/>
    <dgm:cxn modelId="{81BD8AD5-E69B-44E6-AE2B-E6F4F739B41E}" type="presParOf" srcId="{4B80C2B2-1C45-4E43-B99D-7E755D5F1010}" destId="{7187319B-27A8-4119-9C65-A9B885720148}" srcOrd="0" destOrd="0" presId="urn:microsoft.com/office/officeart/2005/8/layout/process4"/>
    <dgm:cxn modelId="{E8E2C035-154E-4B68-9A74-22659D539B55}" type="presParOf" srcId="{4B80C2B2-1C45-4E43-B99D-7E755D5F1010}" destId="{F88137AA-2751-494D-A2CA-74235065E832}" srcOrd="1" destOrd="0" presId="urn:microsoft.com/office/officeart/2005/8/layout/process4"/>
    <dgm:cxn modelId="{58E61E2F-EC20-43A5-B425-417F0C0CD9D8}" type="presParOf" srcId="{4B80C2B2-1C45-4E43-B99D-7E755D5F1010}" destId="{17FADE8B-944B-4353-9345-07596CE7FC8F}" srcOrd="2" destOrd="0" presId="urn:microsoft.com/office/officeart/2005/8/layout/process4"/>
    <dgm:cxn modelId="{E91AD50F-59F5-4E0C-B2A2-3F82738BDC2D}" type="presParOf" srcId="{17FADE8B-944B-4353-9345-07596CE7FC8F}" destId="{0EDD97D6-9FCF-4BD4-9B78-0101DA09CB2A}" srcOrd="0" destOrd="0" presId="urn:microsoft.com/office/officeart/2005/8/layout/process4"/>
    <dgm:cxn modelId="{79ED6CA3-2843-455E-B84C-11978E4DC9F4}" type="presParOf" srcId="{17FADE8B-944B-4353-9345-07596CE7FC8F}" destId="{5B48657E-BE30-4828-B247-6BF8C67A5417}" srcOrd="1" destOrd="0" presId="urn:microsoft.com/office/officeart/2005/8/layout/process4"/>
    <dgm:cxn modelId="{19636885-9EF5-4A68-9E63-A7A621217DFB}" type="presParOf" srcId="{17FADE8B-944B-4353-9345-07596CE7FC8F}" destId="{775BC43A-FF86-4AE6-A97D-A464BAB13759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cycle4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E4B4F9F4-D240-4EF9-8A3E-0060574F32F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omercial : Apps y Soluciones</a:t>
          </a: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929002E-3CFB-46F1-9DED-701E6BDDBBE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Luis Vasquez :Líder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851D966-4FFE-4248-A9C1-6453E25ADC83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sarrollo Apps: IOS y Android</a:t>
          </a:r>
        </a:p>
      </dgm:t>
    </dgm:pt>
    <dgm:pt modelId="{5E16AFD8-F9BA-4FD1-A09E-BF3EB0578E8E}" type="par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299E59F-7CA7-4FC3-AA01-D1FBB0859174}" type="sib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86C129E-19BA-42F5-AD85-4C9625721C2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rlos Vera : Líder </a:t>
          </a:r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C87F9F4-5C07-4BCA-92AB-A2A5B4F9543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sarrollo : PHP y Python</a:t>
          </a:r>
        </a:p>
      </dgm:t>
    </dgm:pt>
    <dgm:pt modelId="{C90170B8-5182-4F3F-A080-9441DEDFD996}" type="par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EBC2197-080B-4783-816B-CDB3942CA110}" type="sib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E316323-377A-46B8-A4D4-E479C1061327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ocumentación : Flujos y procesos</a:t>
          </a:r>
        </a:p>
      </dgm:t>
    </dgm:pt>
    <dgm:pt modelId="{5C5C39FD-74EE-486F-890E-28A1DAAF0B24}" type="par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C408D-DF0A-4D67-9B15-5D6A7CD7F7C3}" type="sib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852CB3-B9A0-47C4-B2D3-60883BCA1CA1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Luis Vasquez :Líder</a:t>
          </a:r>
        </a:p>
      </dgm:t>
    </dgm:pt>
    <dgm:pt modelId="{EDBB7800-6DDB-4558-8FC8-C0BBF127EE1E}" type="par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165C50-7E86-4743-8D75-7CCB095E30B2}" type="sib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60B8BA3-9BEE-40EC-9021-F57BFDFD9DE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aniel Vento :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Lider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DF11160-0D78-4317-8393-A4EB775A8F07}" type="par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772E835-DAF3-4BE6-BFB5-21B108368A1E}" type="sib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B3F148-D3AB-4DE9-8484-36EFA907849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aniel Vento :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Account</a:t>
          </a:r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 Manager</a:t>
          </a:r>
        </a:p>
      </dgm:t>
    </dgm:pt>
    <dgm:pt modelId="{CD72EACC-C299-4AEC-8B2F-673F67F78823}" type="par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8EC97FF-47A0-4996-A0CE-CE0686EDB039}" type="sib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1144811-3E6A-4B10-9D28-C2C94578B690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aidy : Documentación</a:t>
          </a:r>
        </a:p>
      </dgm:t>
    </dgm:pt>
    <dgm:pt modelId="{167D2452-361D-4D97-84E5-9F38CACAD73B}" type="par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A2F5A53-F115-4B26-96B4-1C6FDDD0F286}" type="sib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C83024F-E411-41CF-A34F-1FB2BF6DFAE8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Giancarlo : Desarrollo</a:t>
          </a:r>
        </a:p>
      </dgm:t>
    </dgm:pt>
    <dgm:pt modelId="{0025AB7E-6F71-4447-BF43-E8DD33C2E76D}" type="par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60FD9605-9E1F-4EA8-B9D8-9C8F79B263C1}" type="sib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799AD75-C80E-4271-93C2-34DA1D23ED4F}">
      <dgm:prSet phldrT="[Texto]" custT="1"/>
      <dgm:spPr/>
      <dgm:t>
        <a:bodyPr/>
        <a:lstStyle/>
        <a:p>
          <a:pPr algn="ctr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D2A9084-604E-43CF-A4CF-72DC21EA2934}" type="par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1E0072C-1879-43C0-90AD-12BCFEA3EB33}" type="sib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4A5E8B2-6FE7-4443-B27B-C5216D0E330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aid : Soporte</a:t>
          </a:r>
        </a:p>
      </dgm:t>
    </dgm:pt>
    <dgm:pt modelId="{D6212ED3-FE7B-42BF-B63D-EF40702AC8A8}" type="par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D427D6D-9E2A-4FE7-85F7-EED83BBF7FC5}" type="sib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3B12CA-C127-4A9D-B567-EBA22F854EF2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223AE657-B547-42D2-BCC0-100382CA802D}" type="parTrans" cxnId="{A942A1E9-8B79-4026-AED5-0E36C4274B83}">
      <dgm:prSet/>
      <dgm:spPr/>
      <dgm:t>
        <a:bodyPr/>
        <a:lstStyle/>
        <a:p>
          <a:endParaRPr lang="es-PE"/>
        </a:p>
      </dgm:t>
    </dgm:pt>
    <dgm:pt modelId="{9EA55493-7F84-4ED3-AF96-676ED6F03F79}" type="sibTrans" cxnId="{A942A1E9-8B79-4026-AED5-0E36C4274B83}">
      <dgm:prSet/>
      <dgm:spPr/>
      <dgm:t>
        <a:bodyPr/>
        <a:lstStyle/>
        <a:p>
          <a:endParaRPr lang="es-PE"/>
        </a:p>
      </dgm:t>
    </dgm:pt>
    <dgm:pt modelId="{19ECB9D4-007A-40A3-8BCB-BB55DB558947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Jesus : Desarrollo </a:t>
          </a:r>
        </a:p>
      </dgm:t>
    </dgm:pt>
    <dgm:pt modelId="{27ECC49D-8BBC-4C27-A2AE-FA41C31DA9D0}" type="parTrans" cxnId="{DC8FCED3-C10C-4246-90B5-ED214E370E98}">
      <dgm:prSet/>
      <dgm:spPr/>
      <dgm:t>
        <a:bodyPr/>
        <a:lstStyle/>
        <a:p>
          <a:endParaRPr lang="es-PE"/>
        </a:p>
      </dgm:t>
    </dgm:pt>
    <dgm:pt modelId="{DF378767-2825-45EC-A6E2-073D75709781}" type="sibTrans" cxnId="{DC8FCED3-C10C-4246-90B5-ED214E370E98}">
      <dgm:prSet/>
      <dgm:spPr/>
      <dgm:t>
        <a:bodyPr/>
        <a:lstStyle/>
        <a:p>
          <a:endParaRPr lang="es-PE"/>
        </a:p>
      </dgm:t>
    </dgm:pt>
    <dgm:pt modelId="{7C3C2334-FDB1-45ED-9ED0-89F3C19363D6}">
      <dgm:prSet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Emely : Desarrollo </a:t>
          </a:r>
        </a:p>
      </dgm:t>
    </dgm:pt>
    <dgm:pt modelId="{B4FC8E28-1C3B-4D0C-8A6D-516465F47162}" type="parTrans" cxnId="{6B1ED6C1-3B4E-4D3D-8970-FE5CB33934AB}">
      <dgm:prSet/>
      <dgm:spPr/>
      <dgm:t>
        <a:bodyPr/>
        <a:lstStyle/>
        <a:p>
          <a:endParaRPr lang="es-PE"/>
        </a:p>
      </dgm:t>
    </dgm:pt>
    <dgm:pt modelId="{0D54DF41-42C8-4324-8C49-E27866BFC722}" type="sibTrans" cxnId="{6B1ED6C1-3B4E-4D3D-8970-FE5CB33934AB}">
      <dgm:prSet/>
      <dgm:spPr/>
      <dgm:t>
        <a:bodyPr/>
        <a:lstStyle/>
        <a:p>
          <a:endParaRPr lang="es-PE"/>
        </a:p>
      </dgm:t>
    </dgm:pt>
    <dgm:pt modelId="{BDE4CEE4-C47C-45EC-81AD-A1BC60FDF352}" type="pres">
      <dgm:prSet presAssocID="{7C456F81-39E8-4A49-BB92-6D9710B9C0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62491048-5F76-467B-AE99-5133D1177474}" type="pres">
      <dgm:prSet presAssocID="{7C456F81-39E8-4A49-BB92-6D9710B9C081}" presName="children" presStyleCnt="0"/>
      <dgm:spPr/>
    </dgm:pt>
    <dgm:pt modelId="{6E853767-6E31-4444-AF02-7B2CBE101B8E}" type="pres">
      <dgm:prSet presAssocID="{7C456F81-39E8-4A49-BB92-6D9710B9C081}" presName="child1group" presStyleCnt="0"/>
      <dgm:spPr/>
    </dgm:pt>
    <dgm:pt modelId="{C29649C1-A21A-4DA3-B338-7BCE30F32902}" type="pres">
      <dgm:prSet presAssocID="{7C456F81-39E8-4A49-BB92-6D9710B9C081}" presName="child1" presStyleLbl="bgAcc1" presStyleIdx="0" presStyleCnt="4" custScaleX="124258"/>
      <dgm:spPr/>
    </dgm:pt>
    <dgm:pt modelId="{3296EC63-F60C-416C-A940-CC7B10F00735}" type="pres">
      <dgm:prSet presAssocID="{7C456F81-39E8-4A49-BB92-6D9710B9C081}" presName="child1Text" presStyleLbl="bgAcc1" presStyleIdx="0" presStyleCnt="4">
        <dgm:presLayoutVars>
          <dgm:bulletEnabled val="1"/>
        </dgm:presLayoutVars>
      </dgm:prSet>
      <dgm:spPr/>
    </dgm:pt>
    <dgm:pt modelId="{8303CC75-F15F-4FEE-ACBD-EA591A19E76D}" type="pres">
      <dgm:prSet presAssocID="{7C456F81-39E8-4A49-BB92-6D9710B9C081}" presName="child2group" presStyleCnt="0"/>
      <dgm:spPr/>
    </dgm:pt>
    <dgm:pt modelId="{2FE30161-5C60-466C-9BF5-CEFA31F54EA4}" type="pres">
      <dgm:prSet presAssocID="{7C456F81-39E8-4A49-BB92-6D9710B9C081}" presName="child2" presStyleLbl="bgAcc1" presStyleIdx="1" presStyleCnt="4" custScaleX="124258"/>
      <dgm:spPr/>
    </dgm:pt>
    <dgm:pt modelId="{0490E39C-4561-4FD8-A041-E2CE221E0201}" type="pres">
      <dgm:prSet presAssocID="{7C456F81-39E8-4A49-BB92-6D9710B9C081}" presName="child2Text" presStyleLbl="bgAcc1" presStyleIdx="1" presStyleCnt="4">
        <dgm:presLayoutVars>
          <dgm:bulletEnabled val="1"/>
        </dgm:presLayoutVars>
      </dgm:prSet>
      <dgm:spPr/>
    </dgm:pt>
    <dgm:pt modelId="{54800330-ABE4-45B8-A995-4267527DC675}" type="pres">
      <dgm:prSet presAssocID="{7C456F81-39E8-4A49-BB92-6D9710B9C081}" presName="child3group" presStyleCnt="0"/>
      <dgm:spPr/>
    </dgm:pt>
    <dgm:pt modelId="{88A41F62-FAE9-43B9-9163-89540FD6DEC1}" type="pres">
      <dgm:prSet presAssocID="{7C456F81-39E8-4A49-BB92-6D9710B9C081}" presName="child3" presStyleLbl="bgAcc1" presStyleIdx="2" presStyleCnt="4" custScaleX="124258"/>
      <dgm:spPr/>
    </dgm:pt>
    <dgm:pt modelId="{F880890C-E0DB-4561-89DF-2CC0FF9360F6}" type="pres">
      <dgm:prSet presAssocID="{7C456F81-39E8-4A49-BB92-6D9710B9C081}" presName="child3Text" presStyleLbl="bgAcc1" presStyleIdx="2" presStyleCnt="4">
        <dgm:presLayoutVars>
          <dgm:bulletEnabled val="1"/>
        </dgm:presLayoutVars>
      </dgm:prSet>
      <dgm:spPr/>
    </dgm:pt>
    <dgm:pt modelId="{77607CE4-FF30-4062-968C-144ED4541439}" type="pres">
      <dgm:prSet presAssocID="{7C456F81-39E8-4A49-BB92-6D9710B9C081}" presName="child4group" presStyleCnt="0"/>
      <dgm:spPr/>
    </dgm:pt>
    <dgm:pt modelId="{B4C96BEC-98F9-4EC5-AC0B-14E5BD424531}" type="pres">
      <dgm:prSet presAssocID="{7C456F81-39E8-4A49-BB92-6D9710B9C081}" presName="child4" presStyleLbl="bgAcc1" presStyleIdx="3" presStyleCnt="4" custScaleX="124258"/>
      <dgm:spPr/>
    </dgm:pt>
    <dgm:pt modelId="{2D81F979-A773-416C-BD04-9CD94B0F524A}" type="pres">
      <dgm:prSet presAssocID="{7C456F81-39E8-4A49-BB92-6D9710B9C081}" presName="child4Text" presStyleLbl="bgAcc1" presStyleIdx="3" presStyleCnt="4">
        <dgm:presLayoutVars>
          <dgm:bulletEnabled val="1"/>
        </dgm:presLayoutVars>
      </dgm:prSet>
      <dgm:spPr/>
    </dgm:pt>
    <dgm:pt modelId="{FDE757A6-8470-4F81-B7A1-D7B39E4E607E}" type="pres">
      <dgm:prSet presAssocID="{7C456F81-39E8-4A49-BB92-6D9710B9C081}" presName="childPlaceholder" presStyleCnt="0"/>
      <dgm:spPr/>
    </dgm:pt>
    <dgm:pt modelId="{384C7EE9-0388-4DA1-BD85-966B9DA5D161}" type="pres">
      <dgm:prSet presAssocID="{7C456F81-39E8-4A49-BB92-6D9710B9C081}" presName="circle" presStyleCnt="0"/>
      <dgm:spPr/>
    </dgm:pt>
    <dgm:pt modelId="{048FFB3B-5C29-49EB-AAB3-FDFCE6B26557}" type="pres">
      <dgm:prSet presAssocID="{7C456F81-39E8-4A49-BB92-6D9710B9C0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59459A3E-2B79-4498-9275-243D04AC410B}" type="pres">
      <dgm:prSet presAssocID="{7C456F81-39E8-4A49-BB92-6D9710B9C0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A3B16A58-2DDC-4772-A2E5-036D308AB6DA}" type="pres">
      <dgm:prSet presAssocID="{7C456F81-39E8-4A49-BB92-6D9710B9C0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075A8DE5-85A6-4DDB-8683-6AC871D00272}" type="pres">
      <dgm:prSet presAssocID="{7C456F81-39E8-4A49-BB92-6D9710B9C0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C4F9DF83-19E7-4294-9EAB-6E3226948A20}" type="pres">
      <dgm:prSet presAssocID="{7C456F81-39E8-4A49-BB92-6D9710B9C081}" presName="quadrantPlaceholder" presStyleCnt="0"/>
      <dgm:spPr/>
    </dgm:pt>
    <dgm:pt modelId="{2934D2CC-D2D2-4613-8CAD-C85CD795A0B6}" type="pres">
      <dgm:prSet presAssocID="{7C456F81-39E8-4A49-BB92-6D9710B9C081}" presName="center1" presStyleLbl="fgShp" presStyleIdx="0" presStyleCnt="2"/>
      <dgm:spPr/>
    </dgm:pt>
    <dgm:pt modelId="{9212ADAD-FAEF-411D-AFA9-FF42E3FF5D3C}" type="pres">
      <dgm:prSet presAssocID="{7C456F81-39E8-4A49-BB92-6D9710B9C081}" presName="center2" presStyleLbl="fgShp" presStyleIdx="1" presStyleCnt="2"/>
      <dgm:spPr/>
    </dgm:pt>
  </dgm:ptLst>
  <dgm:cxnLst>
    <dgm:cxn modelId="{E2FFA002-D3DA-4E19-BFE4-8324C4824874}" type="presOf" srcId="{8799AD75-C80E-4271-93C2-34DA1D23ED4F}" destId="{F880890C-E0DB-4561-89DF-2CC0FF9360F6}" srcOrd="1" destOrd="3" presId="urn:microsoft.com/office/officeart/2005/8/layout/cycle4"/>
    <dgm:cxn modelId="{E9B8BA10-FC82-4C8E-8BE9-C2E69019A018}" srcId="{8C87F9F4-5C07-4BCA-92AB-A2A5B4F95435}" destId="{8799AD75-C80E-4271-93C2-34DA1D23ED4F}" srcOrd="3" destOrd="0" parTransId="{1D2A9084-604E-43CF-A4CF-72DC21EA2934}" sibTransId="{71E0072C-1879-43C0-90AD-12BCFEA3EB33}"/>
    <dgm:cxn modelId="{BDBF4014-9DB3-4E4E-B72A-454B7E2B3097}" srcId="{7C456F81-39E8-4A49-BB92-6D9710B9C081}" destId="{D851D966-4FFE-4248-A9C1-6453E25ADC83}" srcOrd="1" destOrd="0" parTransId="{5E16AFD8-F9BA-4FD1-A09E-BF3EB0578E8E}" sibTransId="{F299E59F-7CA7-4FC3-AA01-D1FBB0859174}"/>
    <dgm:cxn modelId="{5C659416-6146-45A4-AADB-EFB57F07326C}" type="presOf" srcId="{0929002E-3CFB-46F1-9DED-701E6BDDBBE5}" destId="{0490E39C-4561-4FD8-A041-E2CE221E0201}" srcOrd="1" destOrd="0" presId="urn:microsoft.com/office/officeart/2005/8/layout/cycle4"/>
    <dgm:cxn modelId="{C5946918-E62E-4BD7-9743-80867A6A281E}" srcId="{7C456F81-39E8-4A49-BB92-6D9710B9C081}" destId="{8C87F9F4-5C07-4BCA-92AB-A2A5B4F95435}" srcOrd="2" destOrd="0" parTransId="{C90170B8-5182-4F3F-A080-9441DEDFD996}" sibTransId="{9EBC2197-080B-4783-816B-CDB3942CA110}"/>
    <dgm:cxn modelId="{F89F1331-D109-4373-A2B7-B6DA43A08761}" type="presOf" srcId="{0929002E-3CFB-46F1-9DED-701E6BDDBBE5}" destId="{2FE30161-5C60-466C-9BF5-CEFA31F54EA4}" srcOrd="0" destOrd="0" presId="urn:microsoft.com/office/officeart/2005/8/layout/cycle4"/>
    <dgm:cxn modelId="{49B57D5C-A5FF-4D23-9CF2-5C4B0A2F8EF5}" type="presOf" srcId="{01144811-3E6A-4B10-9D28-C2C94578B690}" destId="{B4C96BEC-98F9-4EC5-AC0B-14E5BD424531}" srcOrd="0" destOrd="1" presId="urn:microsoft.com/office/officeart/2005/8/layout/cycle4"/>
    <dgm:cxn modelId="{C6B91D5D-2F02-4486-AE39-C44EEC75DAC4}" type="presOf" srcId="{3E852CB3-B9A0-47C4-B2D3-60883BCA1CA1}" destId="{F880890C-E0DB-4561-89DF-2CC0FF9360F6}" srcOrd="1" destOrd="0" presId="urn:microsoft.com/office/officeart/2005/8/layout/cycle4"/>
    <dgm:cxn modelId="{3CEDB05E-A443-4B05-9DF3-C0F42D5EDC76}" type="presOf" srcId="{C03B12CA-C127-4A9D-B567-EBA22F854EF2}" destId="{2FE30161-5C60-466C-9BF5-CEFA31F54EA4}" srcOrd="0" destOrd="2" presId="urn:microsoft.com/office/officeart/2005/8/layout/cycle4"/>
    <dgm:cxn modelId="{9E9AA05F-1AE7-427C-9081-FB058A3450EF}" srcId="{D851D966-4FFE-4248-A9C1-6453E25ADC83}" destId="{0929002E-3CFB-46F1-9DED-701E6BDDBBE5}" srcOrd="0" destOrd="0" parTransId="{AD8E2242-6023-4FA1-A34B-BE65322F502E}" sibTransId="{0D4F85F6-A19F-4209-A6A7-43F65AB97D31}"/>
    <dgm:cxn modelId="{DEDDF041-E200-4C34-833F-58439D2B837F}" srcId="{E4B4F9F4-D240-4EF9-8A3E-0060574F32FE}" destId="{C0B3F148-D3AB-4DE9-8484-36EFA907849C}" srcOrd="1" destOrd="0" parTransId="{CD72EACC-C299-4AEC-8B2F-673F67F78823}" sibTransId="{98EC97FF-47A0-4996-A0CE-CE0686EDB039}"/>
    <dgm:cxn modelId="{77D51667-E4BE-4C05-BBC2-001B239831BB}" type="presOf" srcId="{C0B3F148-D3AB-4DE9-8484-36EFA907849C}" destId="{C29649C1-A21A-4DA3-B338-7BCE30F32902}" srcOrd="0" destOrd="1" presId="urn:microsoft.com/office/officeart/2005/8/layout/cycle4"/>
    <dgm:cxn modelId="{D00FD767-3F81-4DF4-AC2F-161C7620830B}" type="presOf" srcId="{5E316323-377A-46B8-A4D4-E479C1061327}" destId="{075A8DE5-85A6-4DDB-8683-6AC871D00272}" srcOrd="0" destOrd="0" presId="urn:microsoft.com/office/officeart/2005/8/layout/cycle4"/>
    <dgm:cxn modelId="{EB66D449-7199-4143-B1FC-6E311CC463E1}" type="presOf" srcId="{7C3C2334-FDB1-45ED-9ED0-89F3C19363D6}" destId="{2FE30161-5C60-466C-9BF5-CEFA31F54EA4}" srcOrd="0" destOrd="1" presId="urn:microsoft.com/office/officeart/2005/8/layout/cycle4"/>
    <dgm:cxn modelId="{77E50D6C-6018-4AA1-8160-17809E98F736}" type="presOf" srcId="{C0B3F148-D3AB-4DE9-8484-36EFA907849C}" destId="{3296EC63-F60C-416C-A940-CC7B10F00735}" srcOrd="1" destOrd="1" presId="urn:microsoft.com/office/officeart/2005/8/layout/cycle4"/>
    <dgm:cxn modelId="{AEEF4773-4E57-4AB2-9B98-C87F214302E4}" type="presOf" srcId="{360B8BA3-9BEE-40EC-9021-F57BFDFD9DE8}" destId="{B4C96BEC-98F9-4EC5-AC0B-14E5BD424531}" srcOrd="0" destOrd="0" presId="urn:microsoft.com/office/officeart/2005/8/layout/cycle4"/>
    <dgm:cxn modelId="{88BA1856-43D6-4E0F-82A9-28F977ABF6E3}" type="presOf" srcId="{8799AD75-C80E-4271-93C2-34DA1D23ED4F}" destId="{88A41F62-FAE9-43B9-9163-89540FD6DEC1}" srcOrd="0" destOrd="3" presId="urn:microsoft.com/office/officeart/2005/8/layout/cycle4"/>
    <dgm:cxn modelId="{185B4058-5DD3-4244-B8F2-0806394C2487}" type="presOf" srcId="{3E852CB3-B9A0-47C4-B2D3-60883BCA1CA1}" destId="{88A41F62-FAE9-43B9-9163-89540FD6DEC1}" srcOrd="0" destOrd="0" presId="urn:microsoft.com/office/officeart/2005/8/layout/cycle4"/>
    <dgm:cxn modelId="{BD1C4158-62EB-4491-844D-D8FB0A4F6F71}" type="presOf" srcId="{7C3C2334-FDB1-45ED-9ED0-89F3C19363D6}" destId="{0490E39C-4561-4FD8-A041-E2CE221E0201}" srcOrd="1" destOrd="1" presId="urn:microsoft.com/office/officeart/2005/8/layout/cycle4"/>
    <dgm:cxn modelId="{4296607C-1C5E-47B1-A95C-27143FABD9AA}" type="presOf" srcId="{1C83024F-E411-41CF-A34F-1FB2BF6DFAE8}" destId="{F880890C-E0DB-4561-89DF-2CC0FF9360F6}" srcOrd="1" destOrd="2" presId="urn:microsoft.com/office/officeart/2005/8/layout/cycle4"/>
    <dgm:cxn modelId="{8A6CEB88-60F0-411A-8F28-6047C99099BC}" type="presOf" srcId="{C4A5E8B2-6FE7-4443-B27B-C5216D0E330C}" destId="{B4C96BEC-98F9-4EC5-AC0B-14E5BD424531}" srcOrd="0" destOrd="2" presId="urn:microsoft.com/office/officeart/2005/8/layout/cycle4"/>
    <dgm:cxn modelId="{63852A8A-B292-4273-B79D-57753CB8F4E0}" type="presOf" srcId="{8C87F9F4-5C07-4BCA-92AB-A2A5B4F95435}" destId="{A3B16A58-2DDC-4772-A2E5-036D308AB6DA}" srcOrd="0" destOrd="0" presId="urn:microsoft.com/office/officeart/2005/8/layout/cycle4"/>
    <dgm:cxn modelId="{AA2F7394-5781-4D49-BD1F-B45EF59D4D50}" type="presOf" srcId="{486C129E-19BA-42F5-AD85-4C9625721C2E}" destId="{3296EC63-F60C-416C-A940-CC7B10F00735}" srcOrd="1" destOrd="0" presId="urn:microsoft.com/office/officeart/2005/8/layout/cycle4"/>
    <dgm:cxn modelId="{E0A86395-4C33-4F42-943C-52804CBA0CF6}" srcId="{8C87F9F4-5C07-4BCA-92AB-A2A5B4F95435}" destId="{1C83024F-E411-41CF-A34F-1FB2BF6DFAE8}" srcOrd="2" destOrd="0" parTransId="{0025AB7E-6F71-4447-BF43-E8DD33C2E76D}" sibTransId="{60FD9605-9E1F-4EA8-B9D8-9C8F79B263C1}"/>
    <dgm:cxn modelId="{BF6CEEA7-B79C-49B6-BBCB-C2F35D55C285}" srcId="{8C87F9F4-5C07-4BCA-92AB-A2A5B4F95435}" destId="{3E852CB3-B9A0-47C4-B2D3-60883BCA1CA1}" srcOrd="0" destOrd="0" parTransId="{EDBB7800-6DDB-4558-8FC8-C0BBF127EE1E}" sibTransId="{3E165C50-7E86-4743-8D75-7CCB095E30B2}"/>
    <dgm:cxn modelId="{8C7301AA-A618-47CB-8AD5-B88DB886D857}" type="presOf" srcId="{C03B12CA-C127-4A9D-B567-EBA22F854EF2}" destId="{0490E39C-4561-4FD8-A041-E2CE221E0201}" srcOrd="1" destOrd="2" presId="urn:microsoft.com/office/officeart/2005/8/layout/cycle4"/>
    <dgm:cxn modelId="{8E17A6AA-9F0D-4E5A-9EDD-2F5C90D6190F}" type="presOf" srcId="{19ECB9D4-007A-40A3-8BCB-BB55DB558947}" destId="{88A41F62-FAE9-43B9-9163-89540FD6DEC1}" srcOrd="0" destOrd="1" presId="urn:microsoft.com/office/officeart/2005/8/layout/cycle4"/>
    <dgm:cxn modelId="{F659BFB7-D9D5-4C7B-8DD5-EB42490C1C74}" srcId="{5E316323-377A-46B8-A4D4-E479C1061327}" destId="{360B8BA3-9BEE-40EC-9021-F57BFDFD9DE8}" srcOrd="0" destOrd="0" parTransId="{9DF11160-0D78-4317-8393-A4EB775A8F07}" sibTransId="{9772E835-DAF3-4BE6-BFB5-21B108368A1E}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EA01F1BE-F7A3-412C-9F55-B39BC855A8B3}" srcId="{7C456F81-39E8-4A49-BB92-6D9710B9C081}" destId="{E4B4F9F4-D240-4EF9-8A3E-0060574F32FE}" srcOrd="0" destOrd="0" parTransId="{686EE54E-2CC1-4ABF-B221-047AC1ECAA71}" sibTransId="{EC5EB5C7-F1A2-4FE5-A33B-B7B5FE53412C}"/>
    <dgm:cxn modelId="{9F95DCC0-B782-4921-8181-F4FE9DE96144}" type="presOf" srcId="{C4A5E8B2-6FE7-4443-B27B-C5216D0E330C}" destId="{2D81F979-A773-416C-BD04-9CD94B0F524A}" srcOrd="1" destOrd="2" presId="urn:microsoft.com/office/officeart/2005/8/layout/cycle4"/>
    <dgm:cxn modelId="{6B1ED6C1-3B4E-4D3D-8970-FE5CB33934AB}" srcId="{D851D966-4FFE-4248-A9C1-6453E25ADC83}" destId="{7C3C2334-FDB1-45ED-9ED0-89F3C19363D6}" srcOrd="1" destOrd="0" parTransId="{B4FC8E28-1C3B-4D0C-8A6D-516465F47162}" sibTransId="{0D54DF41-42C8-4324-8C49-E27866BFC722}"/>
    <dgm:cxn modelId="{B4543BC5-96BE-4064-8A5A-4FEDB1F2AFEA}" type="presOf" srcId="{01144811-3E6A-4B10-9D28-C2C94578B690}" destId="{2D81F979-A773-416C-BD04-9CD94B0F524A}" srcOrd="1" destOrd="1" presId="urn:microsoft.com/office/officeart/2005/8/layout/cycle4"/>
    <dgm:cxn modelId="{ABA46FC7-1D6F-48CE-A4D1-E536C9AE4690}" srcId="{5E316323-377A-46B8-A4D4-E479C1061327}" destId="{C4A5E8B2-6FE7-4443-B27B-C5216D0E330C}" srcOrd="2" destOrd="0" parTransId="{D6212ED3-FE7B-42BF-B63D-EF40702AC8A8}" sibTransId="{DD427D6D-9E2A-4FE7-85F7-EED83BBF7FC5}"/>
    <dgm:cxn modelId="{592387CB-F863-4082-AC3B-5CE459961FC7}" srcId="{5E316323-377A-46B8-A4D4-E479C1061327}" destId="{01144811-3E6A-4B10-9D28-C2C94578B690}" srcOrd="1" destOrd="0" parTransId="{167D2452-361D-4D97-84E5-9F38CACAD73B}" sibTransId="{4A2F5A53-F115-4B26-96B4-1C6FDDD0F286}"/>
    <dgm:cxn modelId="{DC8FCED3-C10C-4246-90B5-ED214E370E98}" srcId="{8C87F9F4-5C07-4BCA-92AB-A2A5B4F95435}" destId="{19ECB9D4-007A-40A3-8BCB-BB55DB558947}" srcOrd="1" destOrd="0" parTransId="{27ECC49D-8BBC-4C27-A2AE-FA41C31DA9D0}" sibTransId="{DF378767-2825-45EC-A6E2-073D75709781}"/>
    <dgm:cxn modelId="{2537BCD4-CC54-4193-B12B-37BBB1C8B0DB}" type="presOf" srcId="{7C456F81-39E8-4A49-BB92-6D9710B9C081}" destId="{BDE4CEE4-C47C-45EC-81AD-A1BC60FDF352}" srcOrd="0" destOrd="0" presId="urn:microsoft.com/office/officeart/2005/8/layout/cycle4"/>
    <dgm:cxn modelId="{07C483D8-56AD-4E28-A956-C6F0B66FA071}" type="presOf" srcId="{D851D966-4FFE-4248-A9C1-6453E25ADC83}" destId="{59459A3E-2B79-4498-9275-243D04AC410B}" srcOrd="0" destOrd="0" presId="urn:microsoft.com/office/officeart/2005/8/layout/cycle4"/>
    <dgm:cxn modelId="{700C43DF-32FA-4A45-BC04-30B1836EF53F}" type="presOf" srcId="{19ECB9D4-007A-40A3-8BCB-BB55DB558947}" destId="{F880890C-E0DB-4561-89DF-2CC0FF9360F6}" srcOrd="1" destOrd="1" presId="urn:microsoft.com/office/officeart/2005/8/layout/cycle4"/>
    <dgm:cxn modelId="{2E5E16E2-4085-4B1D-8261-70A3BEFBE6A5}" type="presOf" srcId="{360B8BA3-9BEE-40EC-9021-F57BFDFD9DE8}" destId="{2D81F979-A773-416C-BD04-9CD94B0F524A}" srcOrd="1" destOrd="0" presId="urn:microsoft.com/office/officeart/2005/8/layout/cycle4"/>
    <dgm:cxn modelId="{C0E8DFE3-E502-40A7-B7A3-113EB2A097D8}" type="presOf" srcId="{1C83024F-E411-41CF-A34F-1FB2BF6DFAE8}" destId="{88A41F62-FAE9-43B9-9163-89540FD6DEC1}" srcOrd="0" destOrd="2" presId="urn:microsoft.com/office/officeart/2005/8/layout/cycle4"/>
    <dgm:cxn modelId="{A942A1E9-8B79-4026-AED5-0E36C4274B83}" srcId="{D851D966-4FFE-4248-A9C1-6453E25ADC83}" destId="{C03B12CA-C127-4A9D-B567-EBA22F854EF2}" srcOrd="2" destOrd="0" parTransId="{223AE657-B547-42D2-BCC0-100382CA802D}" sibTransId="{9EA55493-7F84-4ED3-AF96-676ED6F03F79}"/>
    <dgm:cxn modelId="{E5B183FA-F359-4FF2-B8BF-35CAE6F71480}" srcId="{7C456F81-39E8-4A49-BB92-6D9710B9C081}" destId="{5E316323-377A-46B8-A4D4-E479C1061327}" srcOrd="3" destOrd="0" parTransId="{5C5C39FD-74EE-486F-890E-28A1DAAF0B24}" sibTransId="{ECFC408D-DF0A-4D67-9B15-5D6A7CD7F7C3}"/>
    <dgm:cxn modelId="{2C2442FC-8EC2-427B-B621-EF64B6225861}" type="presOf" srcId="{E4B4F9F4-D240-4EF9-8A3E-0060574F32FE}" destId="{048FFB3B-5C29-49EB-AAB3-FDFCE6B26557}" srcOrd="0" destOrd="0" presId="urn:microsoft.com/office/officeart/2005/8/layout/cycle4"/>
    <dgm:cxn modelId="{53AC71FF-BF0D-4B49-B665-44186FEB4678}" type="presOf" srcId="{486C129E-19BA-42F5-AD85-4C9625721C2E}" destId="{C29649C1-A21A-4DA3-B338-7BCE30F32902}" srcOrd="0" destOrd="0" presId="urn:microsoft.com/office/officeart/2005/8/layout/cycle4"/>
    <dgm:cxn modelId="{1E3BDFB4-CE6B-48BC-AED5-3D33C908E606}" type="presParOf" srcId="{BDE4CEE4-C47C-45EC-81AD-A1BC60FDF352}" destId="{62491048-5F76-467B-AE99-5133D1177474}" srcOrd="0" destOrd="0" presId="urn:microsoft.com/office/officeart/2005/8/layout/cycle4"/>
    <dgm:cxn modelId="{37F9415F-C6D5-44A5-81A0-3E6FF1395ABF}" type="presParOf" srcId="{62491048-5F76-467B-AE99-5133D1177474}" destId="{6E853767-6E31-4444-AF02-7B2CBE101B8E}" srcOrd="0" destOrd="0" presId="urn:microsoft.com/office/officeart/2005/8/layout/cycle4"/>
    <dgm:cxn modelId="{9ED81D2A-1C3E-417B-A7B6-C1F91415EE9A}" type="presParOf" srcId="{6E853767-6E31-4444-AF02-7B2CBE101B8E}" destId="{C29649C1-A21A-4DA3-B338-7BCE30F32902}" srcOrd="0" destOrd="0" presId="urn:microsoft.com/office/officeart/2005/8/layout/cycle4"/>
    <dgm:cxn modelId="{5CE1AC24-FFDA-4ECB-9CB6-BB6126DB53DC}" type="presParOf" srcId="{6E853767-6E31-4444-AF02-7B2CBE101B8E}" destId="{3296EC63-F60C-416C-A940-CC7B10F00735}" srcOrd="1" destOrd="0" presId="urn:microsoft.com/office/officeart/2005/8/layout/cycle4"/>
    <dgm:cxn modelId="{EA7EFA47-7981-4224-8B86-452332F24C13}" type="presParOf" srcId="{62491048-5F76-467B-AE99-5133D1177474}" destId="{8303CC75-F15F-4FEE-ACBD-EA591A19E76D}" srcOrd="1" destOrd="0" presId="urn:microsoft.com/office/officeart/2005/8/layout/cycle4"/>
    <dgm:cxn modelId="{989817EA-FC9B-4958-917A-81778207712F}" type="presParOf" srcId="{8303CC75-F15F-4FEE-ACBD-EA591A19E76D}" destId="{2FE30161-5C60-466C-9BF5-CEFA31F54EA4}" srcOrd="0" destOrd="0" presId="urn:microsoft.com/office/officeart/2005/8/layout/cycle4"/>
    <dgm:cxn modelId="{E6B55021-C1CC-4B43-BF4C-63A304307B39}" type="presParOf" srcId="{8303CC75-F15F-4FEE-ACBD-EA591A19E76D}" destId="{0490E39C-4561-4FD8-A041-E2CE221E0201}" srcOrd="1" destOrd="0" presId="urn:microsoft.com/office/officeart/2005/8/layout/cycle4"/>
    <dgm:cxn modelId="{D9ACF86A-97FF-4334-BBC2-D3A71436FDDF}" type="presParOf" srcId="{62491048-5F76-467B-AE99-5133D1177474}" destId="{54800330-ABE4-45B8-A995-4267527DC675}" srcOrd="2" destOrd="0" presId="urn:microsoft.com/office/officeart/2005/8/layout/cycle4"/>
    <dgm:cxn modelId="{3E97A0D5-AABB-4CA4-BB37-D48658DB867F}" type="presParOf" srcId="{54800330-ABE4-45B8-A995-4267527DC675}" destId="{88A41F62-FAE9-43B9-9163-89540FD6DEC1}" srcOrd="0" destOrd="0" presId="urn:microsoft.com/office/officeart/2005/8/layout/cycle4"/>
    <dgm:cxn modelId="{1B6C8625-BCA9-4C9A-82E7-D4AFAA969454}" type="presParOf" srcId="{54800330-ABE4-45B8-A995-4267527DC675}" destId="{F880890C-E0DB-4561-89DF-2CC0FF9360F6}" srcOrd="1" destOrd="0" presId="urn:microsoft.com/office/officeart/2005/8/layout/cycle4"/>
    <dgm:cxn modelId="{4872445E-35F6-4A6E-8102-B4BEB09C5CE8}" type="presParOf" srcId="{62491048-5F76-467B-AE99-5133D1177474}" destId="{77607CE4-FF30-4062-968C-144ED4541439}" srcOrd="3" destOrd="0" presId="urn:microsoft.com/office/officeart/2005/8/layout/cycle4"/>
    <dgm:cxn modelId="{8A8C1B51-262B-4139-9589-11E52B876D82}" type="presParOf" srcId="{77607CE4-FF30-4062-968C-144ED4541439}" destId="{B4C96BEC-98F9-4EC5-AC0B-14E5BD424531}" srcOrd="0" destOrd="0" presId="urn:microsoft.com/office/officeart/2005/8/layout/cycle4"/>
    <dgm:cxn modelId="{E7F88C36-F776-45F9-A20A-A8134C77B8AA}" type="presParOf" srcId="{77607CE4-FF30-4062-968C-144ED4541439}" destId="{2D81F979-A773-416C-BD04-9CD94B0F524A}" srcOrd="1" destOrd="0" presId="urn:microsoft.com/office/officeart/2005/8/layout/cycle4"/>
    <dgm:cxn modelId="{BA4CA42B-F2C9-42EB-9C06-51378B7B2F8F}" type="presParOf" srcId="{62491048-5F76-467B-AE99-5133D1177474}" destId="{FDE757A6-8470-4F81-B7A1-D7B39E4E607E}" srcOrd="4" destOrd="0" presId="urn:microsoft.com/office/officeart/2005/8/layout/cycle4"/>
    <dgm:cxn modelId="{286B35D7-71B6-47B9-9AC1-F3AB1321BC3D}" type="presParOf" srcId="{BDE4CEE4-C47C-45EC-81AD-A1BC60FDF352}" destId="{384C7EE9-0388-4DA1-BD85-966B9DA5D161}" srcOrd="1" destOrd="0" presId="urn:microsoft.com/office/officeart/2005/8/layout/cycle4"/>
    <dgm:cxn modelId="{CAA6091D-25CE-4293-9EFD-CAC9FC0E1A1D}" type="presParOf" srcId="{384C7EE9-0388-4DA1-BD85-966B9DA5D161}" destId="{048FFB3B-5C29-49EB-AAB3-FDFCE6B26557}" srcOrd="0" destOrd="0" presId="urn:microsoft.com/office/officeart/2005/8/layout/cycle4"/>
    <dgm:cxn modelId="{98761579-7B9C-4BB1-B6BA-3971EF66368E}" type="presParOf" srcId="{384C7EE9-0388-4DA1-BD85-966B9DA5D161}" destId="{59459A3E-2B79-4498-9275-243D04AC410B}" srcOrd="1" destOrd="0" presId="urn:microsoft.com/office/officeart/2005/8/layout/cycle4"/>
    <dgm:cxn modelId="{6E40A1E4-D147-4F35-B243-12F63E8498C0}" type="presParOf" srcId="{384C7EE9-0388-4DA1-BD85-966B9DA5D161}" destId="{A3B16A58-2DDC-4772-A2E5-036D308AB6DA}" srcOrd="2" destOrd="0" presId="urn:microsoft.com/office/officeart/2005/8/layout/cycle4"/>
    <dgm:cxn modelId="{4E226DF9-61C9-4925-B10D-136FDFF6BF54}" type="presParOf" srcId="{384C7EE9-0388-4DA1-BD85-966B9DA5D161}" destId="{075A8DE5-85A6-4DDB-8683-6AC871D00272}" srcOrd="3" destOrd="0" presId="urn:microsoft.com/office/officeart/2005/8/layout/cycle4"/>
    <dgm:cxn modelId="{8F17C722-CDE4-4D80-952B-4B5B79269950}" type="presParOf" srcId="{384C7EE9-0388-4DA1-BD85-966B9DA5D161}" destId="{C4F9DF83-19E7-4294-9EAB-6E3226948A20}" srcOrd="4" destOrd="0" presId="urn:microsoft.com/office/officeart/2005/8/layout/cycle4"/>
    <dgm:cxn modelId="{87FF2E35-1BB5-4A03-BE67-C7DAA8BF92AC}" type="presParOf" srcId="{BDE4CEE4-C47C-45EC-81AD-A1BC60FDF352}" destId="{2934D2CC-D2D2-4613-8CAD-C85CD795A0B6}" srcOrd="2" destOrd="0" presId="urn:microsoft.com/office/officeart/2005/8/layout/cycle4"/>
    <dgm:cxn modelId="{BCA5A62C-2AB6-458D-B18A-313CD26C0BC5}" type="presParOf" srcId="{BDE4CEE4-C47C-45EC-81AD-A1BC60FDF352}" destId="{9212ADAD-FAEF-411D-AFA9-FF42E3FF5D3C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E4B4F9F4-D240-4EF9-8A3E-0060574F32F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plicativo IOS  : Luis</a:t>
          </a: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929002E-3CFB-46F1-9DED-701E6BDDBBE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Reportes por Auspiciador centralizadores (DSYO)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A0D1D621-DA49-4B24-9D22-997E3493B32D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odelos de reporte (repositorio)</a:t>
          </a:r>
        </a:p>
      </dgm:t>
    </dgm:pt>
    <dgm:pt modelId="{E3ECB5E8-A935-4CFC-8698-EA5FF877B4E3}" type="par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AEA91CA-D5DB-4CEF-B363-98AB51DD8415}" type="sibTrans" cxnId="{0E4F96DE-D09C-4EC4-8B90-C4C5FAC8280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3918B2B-A56B-49E5-A99E-FB8B8DD6201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zar variables</a:t>
          </a:r>
        </a:p>
      </dgm:t>
    </dgm:pt>
    <dgm:pt modelId="{771A4284-DC55-4997-B76F-6C9FAAC618D2}" type="par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4DCBC2E-A508-4B64-981D-DA191D2B4917}" type="sibTrans" cxnId="{0546C747-6BC3-40AF-B2A3-D7C83A0FBE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851D966-4FFE-4248-A9C1-6453E25ADC83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plicativo Android</a:t>
          </a:r>
        </a:p>
      </dgm:t>
    </dgm:pt>
    <dgm:pt modelId="{5E16AFD8-F9BA-4FD1-A09E-BF3EB0578E8E}" type="par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299E59F-7CA7-4FC3-AA01-D1FBB0859174}" type="sib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86C129E-19BA-42F5-AD85-4C9625721C2E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C87F9F4-5C07-4BCA-92AB-A2A5B4F9543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lculadora</a:t>
          </a:r>
        </a:p>
      </dgm:t>
    </dgm:pt>
    <dgm:pt modelId="{C90170B8-5182-4F3F-A080-9441DEDFD996}" type="par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EBC2197-080B-4783-816B-CDB3942CA110}" type="sib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E316323-377A-46B8-A4D4-E479C1061327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oporte</a:t>
          </a:r>
        </a:p>
      </dgm:t>
    </dgm:pt>
    <dgm:pt modelId="{5C5C39FD-74EE-486F-890E-28A1DAAF0B24}" type="par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C408D-DF0A-4D67-9B15-5D6A7CD7F7C3}" type="sib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852CB3-B9A0-47C4-B2D3-60883BCA1CA1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Propuesta nueva (que no encuentran)</a:t>
          </a:r>
        </a:p>
      </dgm:t>
    </dgm:pt>
    <dgm:pt modelId="{EDBB7800-6DDB-4558-8FC8-C0BBF127EE1E}" type="par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165C50-7E86-4743-8D75-7CCB095E30B2}" type="sib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60B8BA3-9BEE-40EC-9021-F57BFDFD9DE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Nuevos reportes</a:t>
          </a:r>
        </a:p>
      </dgm:t>
    </dgm:pt>
    <dgm:pt modelId="{9DF11160-0D78-4317-8393-A4EB775A8F07}" type="par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772E835-DAF3-4BE6-BFB5-21B108368A1E}" type="sib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B3F148-D3AB-4DE9-8484-36EFA907849C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D72EACC-C299-4AEC-8B2F-673F67F78823}" type="par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8EC97FF-47A0-4996-A0CE-CE0686EDB039}" type="sib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5EC8EC5-E027-4459-81C0-DE7CCE6DEEA5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7BC18F4-84E6-4167-B9D4-7304DBED905A}" type="par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2572AD4-9071-4727-9D55-DFB358A543CC}" type="sibTrans" cxnId="{BADC30B5-6E31-4F3A-AC0D-69D148CCD2ED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1144811-3E6A-4B10-9D28-C2C94578B690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Desarrollo</a:t>
          </a:r>
        </a:p>
      </dgm:t>
    </dgm:pt>
    <dgm:pt modelId="{167D2452-361D-4D97-84E5-9F38CACAD73B}" type="par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A2F5A53-F115-4B26-96B4-1C6FDDD0F286}" type="sib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C83024F-E411-41CF-A34F-1FB2BF6DFAE8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Boletín y reportes</a:t>
          </a:r>
        </a:p>
      </dgm:t>
    </dgm:pt>
    <dgm:pt modelId="{0025AB7E-6F71-4447-BF43-E8DD33C2E76D}" type="par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60FD9605-9E1F-4EA8-B9D8-9C8F79B263C1}" type="sibTrans" cxnId="{E0A86395-4C33-4F42-943C-52804CBA0CF6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799AD75-C80E-4271-93C2-34DA1D23ED4F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Video comercial y notas </a:t>
          </a:r>
        </a:p>
      </dgm:t>
    </dgm:pt>
    <dgm:pt modelId="{1D2A9084-604E-43CF-A4CF-72DC21EA2934}" type="par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1E0072C-1879-43C0-90AD-12BCFEA3EB33}" type="sib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4A5E8B2-6FE7-4443-B27B-C5216D0E330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3D</a:t>
          </a:r>
        </a:p>
      </dgm:t>
    </dgm:pt>
    <dgm:pt modelId="{D6212ED3-FE7B-42BF-B63D-EF40702AC8A8}" type="par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D427D6D-9E2A-4FE7-85F7-EED83BBF7FC5}" type="sibTrans" cxnId="{ABA46FC7-1D6F-48CE-A4D1-E536C9AE469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94E61-4084-44A1-AABA-9A689F685C6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Nuevos Requerimientos</a:t>
          </a:r>
        </a:p>
      </dgm:t>
    </dgm:pt>
    <dgm:pt modelId="{BD87D6B6-04C8-4739-AD36-76EAB8C1A15E}" type="parTrans" cxnId="{86D38FB3-7DDC-4070-8E9E-C31BEBECB6C8}">
      <dgm:prSet/>
      <dgm:spPr/>
      <dgm:t>
        <a:bodyPr/>
        <a:lstStyle/>
        <a:p>
          <a:endParaRPr lang="es-PE"/>
        </a:p>
      </dgm:t>
    </dgm:pt>
    <dgm:pt modelId="{CC16C7ED-2927-4E54-B009-DCFCA86ABBF0}" type="sibTrans" cxnId="{86D38FB3-7DDC-4070-8E9E-C31BEBECB6C8}">
      <dgm:prSet/>
      <dgm:spPr/>
      <dgm:t>
        <a:bodyPr/>
        <a:lstStyle/>
        <a:p>
          <a:endParaRPr lang="es-PE"/>
        </a:p>
      </dgm:t>
    </dgm:pt>
    <dgm:pt modelId="{4D814DF2-BCE6-42B9-8E30-C90BF63D7291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cen la Base</a:t>
          </a:r>
        </a:p>
      </dgm:t>
    </dgm:pt>
    <dgm:pt modelId="{B0B52E20-56C1-4690-B7DA-AB16DAD0AAF4}" type="parTrans" cxnId="{6BEF8E37-3EF0-4147-A9B8-B653CCDF31A8}">
      <dgm:prSet/>
      <dgm:spPr/>
      <dgm:t>
        <a:bodyPr/>
        <a:lstStyle/>
        <a:p>
          <a:endParaRPr lang="es-PE"/>
        </a:p>
      </dgm:t>
    </dgm:pt>
    <dgm:pt modelId="{78B04E93-BBBC-43A8-A1A7-22DB77DA7688}" type="sibTrans" cxnId="{6BEF8E37-3EF0-4147-A9B8-B653CCDF31A8}">
      <dgm:prSet/>
      <dgm:spPr/>
      <dgm:t>
        <a:bodyPr/>
        <a:lstStyle/>
        <a:p>
          <a:endParaRPr lang="es-PE"/>
        </a:p>
      </dgm:t>
    </dgm:pt>
    <dgm:pt modelId="{4A0744C2-C0D9-423F-A68C-29A17515C566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etodología de recojo de datos en campo</a:t>
          </a:r>
        </a:p>
      </dgm:t>
    </dgm:pt>
    <dgm:pt modelId="{9979E49E-4D85-4291-8CCC-E84E6D906113}" type="parTrans" cxnId="{D19C2740-F297-4D07-8D35-18DE9385BE2F}">
      <dgm:prSet/>
      <dgm:spPr/>
      <dgm:t>
        <a:bodyPr/>
        <a:lstStyle/>
        <a:p>
          <a:endParaRPr lang="es-PE"/>
        </a:p>
      </dgm:t>
    </dgm:pt>
    <dgm:pt modelId="{81392C7C-2EF4-4465-90CB-57675D93DBA0}" type="sibTrans" cxnId="{D19C2740-F297-4D07-8D35-18DE9385BE2F}">
      <dgm:prSet/>
      <dgm:spPr/>
      <dgm:t>
        <a:bodyPr/>
        <a:lstStyle/>
        <a:p>
          <a:endParaRPr lang="es-PE"/>
        </a:p>
      </dgm:t>
    </dgm:pt>
    <dgm:pt modelId="{91582BEC-DE5A-4662-8627-FAC9CA581172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ctualicen los reportes</a:t>
          </a:r>
        </a:p>
      </dgm:t>
    </dgm:pt>
    <dgm:pt modelId="{342E5849-ABA7-49EC-8025-935DA4F75F7A}" type="parTrans" cxnId="{8E49B4B1-FC63-49B8-BAD7-A60077C98AE8}">
      <dgm:prSet/>
      <dgm:spPr/>
      <dgm:t>
        <a:bodyPr/>
        <a:lstStyle/>
        <a:p>
          <a:endParaRPr lang="es-PE"/>
        </a:p>
      </dgm:t>
    </dgm:pt>
    <dgm:pt modelId="{F3E377B6-06D6-4DF9-99E8-B594BBDC001C}" type="sibTrans" cxnId="{8E49B4B1-FC63-49B8-BAD7-A60077C98AE8}">
      <dgm:prSet/>
      <dgm:spPr/>
      <dgm:t>
        <a:bodyPr/>
        <a:lstStyle/>
        <a:p>
          <a:endParaRPr lang="es-PE"/>
        </a:p>
      </dgm:t>
    </dgm:pt>
    <dgm:pt modelId="{EB03EB6B-9574-4EA5-A153-18382C1F2F1E}" type="pres">
      <dgm:prSet presAssocID="{7C456F81-39E8-4A49-BB92-6D9710B9C081}" presName="Name0" presStyleCnt="0">
        <dgm:presLayoutVars>
          <dgm:dir/>
          <dgm:animLvl val="lvl"/>
          <dgm:resizeHandles val="exact"/>
        </dgm:presLayoutVars>
      </dgm:prSet>
      <dgm:spPr/>
    </dgm:pt>
    <dgm:pt modelId="{D3C3096E-56A6-4096-8CE1-7234C99FF698}" type="pres">
      <dgm:prSet presAssocID="{ECF94E61-4084-44A1-AABA-9A689F685C6C}" presName="boxAndChildren" presStyleCnt="0"/>
      <dgm:spPr/>
    </dgm:pt>
    <dgm:pt modelId="{23E25BBB-CAA1-4613-9B0A-8E7313855BC1}" type="pres">
      <dgm:prSet presAssocID="{ECF94E61-4084-44A1-AABA-9A689F685C6C}" presName="parentTextBox" presStyleLbl="node1" presStyleIdx="0" presStyleCnt="5"/>
      <dgm:spPr/>
    </dgm:pt>
    <dgm:pt modelId="{9D4D0629-8307-48D1-983E-19A89023459E}" type="pres">
      <dgm:prSet presAssocID="{ECF94E61-4084-44A1-AABA-9A689F685C6C}" presName="entireBox" presStyleLbl="node1" presStyleIdx="0" presStyleCnt="5"/>
      <dgm:spPr/>
    </dgm:pt>
    <dgm:pt modelId="{0FD9A014-015D-443C-9B54-A3662BF4A3B5}" type="pres">
      <dgm:prSet presAssocID="{ECF94E61-4084-44A1-AABA-9A689F685C6C}" presName="descendantBox" presStyleCnt="0"/>
      <dgm:spPr/>
    </dgm:pt>
    <dgm:pt modelId="{DEBFAFF2-398E-4993-B947-F97E616F6405}" type="pres">
      <dgm:prSet presAssocID="{4D814DF2-BCE6-42B9-8E30-C90BF63D7291}" presName="childTextBox" presStyleLbl="fgAccFollowNode1" presStyleIdx="0" presStyleCnt="15">
        <dgm:presLayoutVars>
          <dgm:bulletEnabled val="1"/>
        </dgm:presLayoutVars>
      </dgm:prSet>
      <dgm:spPr/>
    </dgm:pt>
    <dgm:pt modelId="{635FF771-35C9-4403-A55A-FB31CB316DC3}" type="pres">
      <dgm:prSet presAssocID="{4A0744C2-C0D9-423F-A68C-29A17515C566}" presName="childTextBox" presStyleLbl="fgAccFollowNode1" presStyleIdx="1" presStyleCnt="15">
        <dgm:presLayoutVars>
          <dgm:bulletEnabled val="1"/>
        </dgm:presLayoutVars>
      </dgm:prSet>
      <dgm:spPr/>
    </dgm:pt>
    <dgm:pt modelId="{E20A101E-7118-4273-9932-D019582BC7E5}" type="pres">
      <dgm:prSet presAssocID="{91582BEC-DE5A-4662-8627-FAC9CA581172}" presName="childTextBox" presStyleLbl="fgAccFollowNode1" presStyleIdx="2" presStyleCnt="15">
        <dgm:presLayoutVars>
          <dgm:bulletEnabled val="1"/>
        </dgm:presLayoutVars>
      </dgm:prSet>
      <dgm:spPr/>
    </dgm:pt>
    <dgm:pt modelId="{A356B024-FED8-4F6C-A805-E4746E502B39}" type="pres">
      <dgm:prSet presAssocID="{ECFC408D-DF0A-4D67-9B15-5D6A7CD7F7C3}" presName="sp" presStyleCnt="0"/>
      <dgm:spPr/>
    </dgm:pt>
    <dgm:pt modelId="{E6D9A1BE-4E9C-4AAE-8D50-2B9A3A1DCC7F}" type="pres">
      <dgm:prSet presAssocID="{5E316323-377A-46B8-A4D4-E479C1061327}" presName="arrowAndChildren" presStyleCnt="0"/>
      <dgm:spPr/>
    </dgm:pt>
    <dgm:pt modelId="{5BEA4B0D-108A-402E-9342-32517FE70D18}" type="pres">
      <dgm:prSet presAssocID="{5E316323-377A-46B8-A4D4-E479C1061327}" presName="parentTextArrow" presStyleLbl="node1" presStyleIdx="0" presStyleCnt="5"/>
      <dgm:spPr/>
    </dgm:pt>
    <dgm:pt modelId="{AC2EE8B0-E87E-42A7-A10A-8C5F3FD4783F}" type="pres">
      <dgm:prSet presAssocID="{5E316323-377A-46B8-A4D4-E479C1061327}" presName="arrow" presStyleLbl="node1" presStyleIdx="1" presStyleCnt="5"/>
      <dgm:spPr/>
    </dgm:pt>
    <dgm:pt modelId="{8E35B08F-7893-43A6-ABE4-FC2EB7D14808}" type="pres">
      <dgm:prSet presAssocID="{5E316323-377A-46B8-A4D4-E479C1061327}" presName="descendantArrow" presStyleCnt="0"/>
      <dgm:spPr/>
    </dgm:pt>
    <dgm:pt modelId="{007CFC69-67D0-405F-A6F8-03FBB5EBCBD4}" type="pres">
      <dgm:prSet presAssocID="{360B8BA3-9BEE-40EC-9021-F57BFDFD9DE8}" presName="childTextArrow" presStyleLbl="fgAccFollowNode1" presStyleIdx="3" presStyleCnt="15">
        <dgm:presLayoutVars>
          <dgm:bulletEnabled val="1"/>
        </dgm:presLayoutVars>
      </dgm:prSet>
      <dgm:spPr/>
    </dgm:pt>
    <dgm:pt modelId="{D5A9615E-6D64-42C7-A7F4-7B2D96EEBF35}" type="pres">
      <dgm:prSet presAssocID="{01144811-3E6A-4B10-9D28-C2C94578B690}" presName="childTextArrow" presStyleLbl="fgAccFollowNode1" presStyleIdx="4" presStyleCnt="15">
        <dgm:presLayoutVars>
          <dgm:bulletEnabled val="1"/>
        </dgm:presLayoutVars>
      </dgm:prSet>
      <dgm:spPr/>
    </dgm:pt>
    <dgm:pt modelId="{2CE9A198-0D82-4501-923D-1C7A3202EBC9}" type="pres">
      <dgm:prSet presAssocID="{C4A5E8B2-6FE7-4443-B27B-C5216D0E330C}" presName="childTextArrow" presStyleLbl="fgAccFollowNode1" presStyleIdx="5" presStyleCnt="15">
        <dgm:presLayoutVars>
          <dgm:bulletEnabled val="1"/>
        </dgm:presLayoutVars>
      </dgm:prSet>
      <dgm:spPr/>
    </dgm:pt>
    <dgm:pt modelId="{3B5B80E6-D439-44F0-A337-A96C8DB6A6E1}" type="pres">
      <dgm:prSet presAssocID="{9EBC2197-080B-4783-816B-CDB3942CA110}" presName="sp" presStyleCnt="0"/>
      <dgm:spPr/>
    </dgm:pt>
    <dgm:pt modelId="{3FCA7FD0-DDE1-405C-9141-CFA4BEE19740}" type="pres">
      <dgm:prSet presAssocID="{8C87F9F4-5C07-4BCA-92AB-A2A5B4F95435}" presName="arrowAndChildren" presStyleCnt="0"/>
      <dgm:spPr/>
    </dgm:pt>
    <dgm:pt modelId="{88E62E39-32A8-419B-AE60-E8065A6CD1E2}" type="pres">
      <dgm:prSet presAssocID="{8C87F9F4-5C07-4BCA-92AB-A2A5B4F95435}" presName="parentTextArrow" presStyleLbl="node1" presStyleIdx="1" presStyleCnt="5"/>
      <dgm:spPr/>
    </dgm:pt>
    <dgm:pt modelId="{95AD91AD-CB62-4BD8-94F0-DFCC20ABD171}" type="pres">
      <dgm:prSet presAssocID="{8C87F9F4-5C07-4BCA-92AB-A2A5B4F95435}" presName="arrow" presStyleLbl="node1" presStyleIdx="2" presStyleCnt="5"/>
      <dgm:spPr/>
    </dgm:pt>
    <dgm:pt modelId="{49659649-2EF7-4586-A95B-58970F77117F}" type="pres">
      <dgm:prSet presAssocID="{8C87F9F4-5C07-4BCA-92AB-A2A5B4F95435}" presName="descendantArrow" presStyleCnt="0"/>
      <dgm:spPr/>
    </dgm:pt>
    <dgm:pt modelId="{9D8D2D06-5FB4-42DA-988C-D4400F8A15D7}" type="pres">
      <dgm:prSet presAssocID="{3E852CB3-B9A0-47C4-B2D3-60883BCA1CA1}" presName="childTextArrow" presStyleLbl="fgAccFollowNode1" presStyleIdx="6" presStyleCnt="15">
        <dgm:presLayoutVars>
          <dgm:bulletEnabled val="1"/>
        </dgm:presLayoutVars>
      </dgm:prSet>
      <dgm:spPr/>
    </dgm:pt>
    <dgm:pt modelId="{757C85E8-B454-49CD-8F22-D3E9EB042994}" type="pres">
      <dgm:prSet presAssocID="{1C83024F-E411-41CF-A34F-1FB2BF6DFAE8}" presName="childTextArrow" presStyleLbl="fgAccFollowNode1" presStyleIdx="7" presStyleCnt="15">
        <dgm:presLayoutVars>
          <dgm:bulletEnabled val="1"/>
        </dgm:presLayoutVars>
      </dgm:prSet>
      <dgm:spPr/>
    </dgm:pt>
    <dgm:pt modelId="{49A26938-D933-49A6-8EA8-CC39758147BA}" type="pres">
      <dgm:prSet presAssocID="{8799AD75-C80E-4271-93C2-34DA1D23ED4F}" presName="childTextArrow" presStyleLbl="fgAccFollowNode1" presStyleIdx="8" presStyleCnt="15">
        <dgm:presLayoutVars>
          <dgm:bulletEnabled val="1"/>
        </dgm:presLayoutVars>
      </dgm:prSet>
      <dgm:spPr/>
    </dgm:pt>
    <dgm:pt modelId="{5C7A3FD8-99A0-40CE-B189-AE89EE7F92DA}" type="pres">
      <dgm:prSet presAssocID="{F299E59F-7CA7-4FC3-AA01-D1FBB0859174}" presName="sp" presStyleCnt="0"/>
      <dgm:spPr/>
    </dgm:pt>
    <dgm:pt modelId="{9105E249-8148-470D-9574-1C494EBCD5E3}" type="pres">
      <dgm:prSet presAssocID="{D851D966-4FFE-4248-A9C1-6453E25ADC83}" presName="arrowAndChildren" presStyleCnt="0"/>
      <dgm:spPr/>
    </dgm:pt>
    <dgm:pt modelId="{354D8C0C-0917-4BA0-8481-476F3B64DDF6}" type="pres">
      <dgm:prSet presAssocID="{D851D966-4FFE-4248-A9C1-6453E25ADC83}" presName="parentTextArrow" presStyleLbl="node1" presStyleIdx="2" presStyleCnt="5"/>
      <dgm:spPr/>
    </dgm:pt>
    <dgm:pt modelId="{DE4459A0-95C5-4725-9F03-9A0AD2F9926A}" type="pres">
      <dgm:prSet presAssocID="{D851D966-4FFE-4248-A9C1-6453E25ADC83}" presName="arrow" presStyleLbl="node1" presStyleIdx="3" presStyleCnt="5"/>
      <dgm:spPr/>
    </dgm:pt>
    <dgm:pt modelId="{A5543260-F659-408F-9B54-DC9A6C06DF1F}" type="pres">
      <dgm:prSet presAssocID="{D851D966-4FFE-4248-A9C1-6453E25ADC83}" presName="descendantArrow" presStyleCnt="0"/>
      <dgm:spPr/>
    </dgm:pt>
    <dgm:pt modelId="{B6AD687A-D1FE-4304-8D99-21A7AA53D287}" type="pres">
      <dgm:prSet presAssocID="{0929002E-3CFB-46F1-9DED-701E6BDDBBE5}" presName="childTextArrow" presStyleLbl="fgAccFollowNode1" presStyleIdx="9" presStyleCnt="15">
        <dgm:presLayoutVars>
          <dgm:bulletEnabled val="1"/>
        </dgm:presLayoutVars>
      </dgm:prSet>
      <dgm:spPr/>
    </dgm:pt>
    <dgm:pt modelId="{62EB7941-A74D-4F18-8DE5-485D8A2C4F3A}" type="pres">
      <dgm:prSet presAssocID="{A0D1D621-DA49-4B24-9D22-997E3493B32D}" presName="childTextArrow" presStyleLbl="fgAccFollowNode1" presStyleIdx="10" presStyleCnt="15">
        <dgm:presLayoutVars>
          <dgm:bulletEnabled val="1"/>
        </dgm:presLayoutVars>
      </dgm:prSet>
      <dgm:spPr/>
    </dgm:pt>
    <dgm:pt modelId="{CEB0F7B0-2A19-4F09-BDC3-8C3B0ACA1B28}" type="pres">
      <dgm:prSet presAssocID="{33918B2B-A56B-49E5-A99E-FB8B8DD62018}" presName="childTextArrow" presStyleLbl="fgAccFollowNode1" presStyleIdx="11" presStyleCnt="15">
        <dgm:presLayoutVars>
          <dgm:bulletEnabled val="1"/>
        </dgm:presLayoutVars>
      </dgm:prSet>
      <dgm:spPr/>
    </dgm:pt>
    <dgm:pt modelId="{1713176F-A260-4F41-BE91-6CED18B891A8}" type="pres">
      <dgm:prSet presAssocID="{EC5EB5C7-F1A2-4FE5-A33B-B7B5FE53412C}" presName="sp" presStyleCnt="0"/>
      <dgm:spPr/>
    </dgm:pt>
    <dgm:pt modelId="{4B80C2B2-1C45-4E43-B99D-7E755D5F1010}" type="pres">
      <dgm:prSet presAssocID="{E4B4F9F4-D240-4EF9-8A3E-0060574F32FE}" presName="arrowAndChildren" presStyleCnt="0"/>
      <dgm:spPr/>
    </dgm:pt>
    <dgm:pt modelId="{7187319B-27A8-4119-9C65-A9B885720148}" type="pres">
      <dgm:prSet presAssocID="{E4B4F9F4-D240-4EF9-8A3E-0060574F32FE}" presName="parentTextArrow" presStyleLbl="node1" presStyleIdx="3" presStyleCnt="5"/>
      <dgm:spPr/>
    </dgm:pt>
    <dgm:pt modelId="{F88137AA-2751-494D-A2CA-74235065E832}" type="pres">
      <dgm:prSet presAssocID="{E4B4F9F4-D240-4EF9-8A3E-0060574F32FE}" presName="arrow" presStyleLbl="node1" presStyleIdx="4" presStyleCnt="5"/>
      <dgm:spPr/>
    </dgm:pt>
    <dgm:pt modelId="{17FADE8B-944B-4353-9345-07596CE7FC8F}" type="pres">
      <dgm:prSet presAssocID="{E4B4F9F4-D240-4EF9-8A3E-0060574F32FE}" presName="descendantArrow" presStyleCnt="0"/>
      <dgm:spPr/>
    </dgm:pt>
    <dgm:pt modelId="{0EDD97D6-9FCF-4BD4-9B78-0101DA09CB2A}" type="pres">
      <dgm:prSet presAssocID="{486C129E-19BA-42F5-AD85-4C9625721C2E}" presName="childTextArrow" presStyleLbl="fgAccFollowNode1" presStyleIdx="12" presStyleCnt="15">
        <dgm:presLayoutVars>
          <dgm:bulletEnabled val="1"/>
        </dgm:presLayoutVars>
      </dgm:prSet>
      <dgm:spPr/>
    </dgm:pt>
    <dgm:pt modelId="{5B48657E-BE30-4828-B247-6BF8C67A5417}" type="pres">
      <dgm:prSet presAssocID="{C0B3F148-D3AB-4DE9-8484-36EFA907849C}" presName="childTextArrow" presStyleLbl="fgAccFollowNode1" presStyleIdx="13" presStyleCnt="15">
        <dgm:presLayoutVars>
          <dgm:bulletEnabled val="1"/>
        </dgm:presLayoutVars>
      </dgm:prSet>
      <dgm:spPr/>
    </dgm:pt>
    <dgm:pt modelId="{775BC43A-FF86-4AE6-A97D-A464BAB13759}" type="pres">
      <dgm:prSet presAssocID="{F5EC8EC5-E027-4459-81C0-DE7CCE6DEEA5}" presName="childTextArrow" presStyleLbl="fgAccFollowNode1" presStyleIdx="14" presStyleCnt="15">
        <dgm:presLayoutVars>
          <dgm:bulletEnabled val="1"/>
        </dgm:presLayoutVars>
      </dgm:prSet>
      <dgm:spPr/>
    </dgm:pt>
  </dgm:ptLst>
  <dgm:cxnLst>
    <dgm:cxn modelId="{FC2A9C01-34C1-4FF4-AE6A-7A519836BAF6}" type="presOf" srcId="{A0D1D621-DA49-4B24-9D22-997E3493B32D}" destId="{62EB7941-A74D-4F18-8DE5-485D8A2C4F3A}" srcOrd="0" destOrd="0" presId="urn:microsoft.com/office/officeart/2005/8/layout/process4"/>
    <dgm:cxn modelId="{7E4CBA0E-DB61-48A6-906D-7BC1BB344639}" type="presOf" srcId="{E4B4F9F4-D240-4EF9-8A3E-0060574F32FE}" destId="{7187319B-27A8-4119-9C65-A9B885720148}" srcOrd="0" destOrd="0" presId="urn:microsoft.com/office/officeart/2005/8/layout/process4"/>
    <dgm:cxn modelId="{E9B8BA10-FC82-4C8E-8BE9-C2E69019A018}" srcId="{8C87F9F4-5C07-4BCA-92AB-A2A5B4F95435}" destId="{8799AD75-C80E-4271-93C2-34DA1D23ED4F}" srcOrd="2" destOrd="0" parTransId="{1D2A9084-604E-43CF-A4CF-72DC21EA2934}" sibTransId="{71E0072C-1879-43C0-90AD-12BCFEA3EB33}"/>
    <dgm:cxn modelId="{4E220113-5239-4BED-A92B-48EDBE16FA47}" type="presOf" srcId="{0929002E-3CFB-46F1-9DED-701E6BDDBBE5}" destId="{B6AD687A-D1FE-4304-8D99-21A7AA53D287}" srcOrd="0" destOrd="0" presId="urn:microsoft.com/office/officeart/2005/8/layout/process4"/>
    <dgm:cxn modelId="{BDBF4014-9DB3-4E4E-B72A-454B7E2B3097}" srcId="{7C456F81-39E8-4A49-BB92-6D9710B9C081}" destId="{D851D966-4FFE-4248-A9C1-6453E25ADC83}" srcOrd="1" destOrd="0" parTransId="{5E16AFD8-F9BA-4FD1-A09E-BF3EB0578E8E}" sibTransId="{F299E59F-7CA7-4FC3-AA01-D1FBB0859174}"/>
    <dgm:cxn modelId="{C5946918-E62E-4BD7-9743-80867A6A281E}" srcId="{7C456F81-39E8-4A49-BB92-6D9710B9C081}" destId="{8C87F9F4-5C07-4BCA-92AB-A2A5B4F95435}" srcOrd="2" destOrd="0" parTransId="{C90170B8-5182-4F3F-A080-9441DEDFD996}" sibTransId="{9EBC2197-080B-4783-816B-CDB3942CA110}"/>
    <dgm:cxn modelId="{1097FE20-EBA6-42F7-8CAD-E6201E37F456}" type="presOf" srcId="{360B8BA3-9BEE-40EC-9021-F57BFDFD9DE8}" destId="{007CFC69-67D0-405F-A6F8-03FBB5EBCBD4}" srcOrd="0" destOrd="0" presId="urn:microsoft.com/office/officeart/2005/8/layout/process4"/>
    <dgm:cxn modelId="{212D2521-FA9B-4E5B-B7C1-3B6A831A5B9F}" type="presOf" srcId="{8799AD75-C80E-4271-93C2-34DA1D23ED4F}" destId="{49A26938-D933-49A6-8EA8-CC39758147BA}" srcOrd="0" destOrd="0" presId="urn:microsoft.com/office/officeart/2005/8/layout/process4"/>
    <dgm:cxn modelId="{DFDECE35-D23E-4022-94E6-4E074FD1D7A6}" type="presOf" srcId="{E4B4F9F4-D240-4EF9-8A3E-0060574F32FE}" destId="{F88137AA-2751-494D-A2CA-74235065E832}" srcOrd="1" destOrd="0" presId="urn:microsoft.com/office/officeart/2005/8/layout/process4"/>
    <dgm:cxn modelId="{6BEF8E37-3EF0-4147-A9B8-B653CCDF31A8}" srcId="{ECF94E61-4084-44A1-AABA-9A689F685C6C}" destId="{4D814DF2-BCE6-42B9-8E30-C90BF63D7291}" srcOrd="0" destOrd="0" parTransId="{B0B52E20-56C1-4690-B7DA-AB16DAD0AAF4}" sibTransId="{78B04E93-BBBC-43A8-A1A7-22DB77DA7688}"/>
    <dgm:cxn modelId="{1516893E-4C1A-4671-9A6B-E0A43CF2FFB3}" type="presOf" srcId="{C0B3F148-D3AB-4DE9-8484-36EFA907849C}" destId="{5B48657E-BE30-4828-B247-6BF8C67A5417}" srcOrd="0" destOrd="0" presId="urn:microsoft.com/office/officeart/2005/8/layout/process4"/>
    <dgm:cxn modelId="{D19C2740-F297-4D07-8D35-18DE9385BE2F}" srcId="{ECF94E61-4084-44A1-AABA-9A689F685C6C}" destId="{4A0744C2-C0D9-423F-A68C-29A17515C566}" srcOrd="1" destOrd="0" parTransId="{9979E49E-4D85-4291-8CCC-E84E6D906113}" sibTransId="{81392C7C-2EF4-4465-90CB-57675D93DBA0}"/>
    <dgm:cxn modelId="{E586525D-DE5C-47F7-8AA3-BD50CF247832}" type="presOf" srcId="{D851D966-4FFE-4248-A9C1-6453E25ADC83}" destId="{DE4459A0-95C5-4725-9F03-9A0AD2F9926A}" srcOrd="1" destOrd="0" presId="urn:microsoft.com/office/officeart/2005/8/layout/process4"/>
    <dgm:cxn modelId="{9E9AA05F-1AE7-427C-9081-FB058A3450EF}" srcId="{D851D966-4FFE-4248-A9C1-6453E25ADC83}" destId="{0929002E-3CFB-46F1-9DED-701E6BDDBBE5}" srcOrd="0" destOrd="0" parTransId="{AD8E2242-6023-4FA1-A34B-BE65322F502E}" sibTransId="{0D4F85F6-A19F-4209-A6A7-43F65AB97D31}"/>
    <dgm:cxn modelId="{DEDDF041-E200-4C34-833F-58439D2B837F}" srcId="{E4B4F9F4-D240-4EF9-8A3E-0060574F32FE}" destId="{C0B3F148-D3AB-4DE9-8484-36EFA907849C}" srcOrd="1" destOrd="0" parTransId="{CD72EACC-C299-4AEC-8B2F-673F67F78823}" sibTransId="{98EC97FF-47A0-4996-A0CE-CE0686EDB039}"/>
    <dgm:cxn modelId="{FCAB3B63-22BF-45CB-B62D-8A3B39670C16}" type="presOf" srcId="{F5EC8EC5-E027-4459-81C0-DE7CCE6DEEA5}" destId="{775BC43A-FF86-4AE6-A97D-A464BAB13759}" srcOrd="0" destOrd="0" presId="urn:microsoft.com/office/officeart/2005/8/layout/process4"/>
    <dgm:cxn modelId="{0546C747-6BC3-40AF-B2A3-D7C83A0FBE80}" srcId="{D851D966-4FFE-4248-A9C1-6453E25ADC83}" destId="{33918B2B-A56B-49E5-A99E-FB8B8DD62018}" srcOrd="2" destOrd="0" parTransId="{771A4284-DC55-4997-B76F-6C9FAAC618D2}" sibTransId="{14DCBC2E-A508-4B64-981D-DA191D2B4917}"/>
    <dgm:cxn modelId="{78FC3068-D7B3-4DF8-91A7-F6C25B061CD9}" type="presOf" srcId="{4D814DF2-BCE6-42B9-8E30-C90BF63D7291}" destId="{DEBFAFF2-398E-4993-B947-F97E616F6405}" srcOrd="0" destOrd="0" presId="urn:microsoft.com/office/officeart/2005/8/layout/process4"/>
    <dgm:cxn modelId="{A1842479-5E5E-4FEC-9CE8-45D902445E7B}" type="presOf" srcId="{ECF94E61-4084-44A1-AABA-9A689F685C6C}" destId="{23E25BBB-CAA1-4613-9B0A-8E7313855BC1}" srcOrd="0" destOrd="0" presId="urn:microsoft.com/office/officeart/2005/8/layout/process4"/>
    <dgm:cxn modelId="{29705159-E322-4084-B2CE-64B35F5EFA1B}" type="presOf" srcId="{33918B2B-A56B-49E5-A99E-FB8B8DD62018}" destId="{CEB0F7B0-2A19-4F09-BDC3-8C3B0ACA1B28}" srcOrd="0" destOrd="0" presId="urn:microsoft.com/office/officeart/2005/8/layout/process4"/>
    <dgm:cxn modelId="{24AAB383-71A1-453A-B304-4CDC76916177}" type="presOf" srcId="{C4A5E8B2-6FE7-4443-B27B-C5216D0E330C}" destId="{2CE9A198-0D82-4501-923D-1C7A3202EBC9}" srcOrd="0" destOrd="0" presId="urn:microsoft.com/office/officeart/2005/8/layout/process4"/>
    <dgm:cxn modelId="{28AE7A87-3A68-4006-9467-1365C0060C13}" type="presOf" srcId="{7C456F81-39E8-4A49-BB92-6D9710B9C081}" destId="{EB03EB6B-9574-4EA5-A153-18382C1F2F1E}" srcOrd="0" destOrd="0" presId="urn:microsoft.com/office/officeart/2005/8/layout/process4"/>
    <dgm:cxn modelId="{72B5BD94-EFB1-4D31-89FD-3BF9531C23C0}" type="presOf" srcId="{ECF94E61-4084-44A1-AABA-9A689F685C6C}" destId="{9D4D0629-8307-48D1-983E-19A89023459E}" srcOrd="1" destOrd="0" presId="urn:microsoft.com/office/officeart/2005/8/layout/process4"/>
    <dgm:cxn modelId="{E0A86395-4C33-4F42-943C-52804CBA0CF6}" srcId="{8C87F9F4-5C07-4BCA-92AB-A2A5B4F95435}" destId="{1C83024F-E411-41CF-A34F-1FB2BF6DFAE8}" srcOrd="1" destOrd="0" parTransId="{0025AB7E-6F71-4447-BF43-E8DD33C2E76D}" sibTransId="{60FD9605-9E1F-4EA8-B9D8-9C8F79B263C1}"/>
    <dgm:cxn modelId="{E31B029B-72C3-4515-9800-7E4538032B54}" type="presOf" srcId="{91582BEC-DE5A-4662-8627-FAC9CA581172}" destId="{E20A101E-7118-4273-9932-D019582BC7E5}" srcOrd="0" destOrd="0" presId="urn:microsoft.com/office/officeart/2005/8/layout/process4"/>
    <dgm:cxn modelId="{1FFE229D-DDC7-4828-9C7A-BB0DDC279C76}" type="presOf" srcId="{4A0744C2-C0D9-423F-A68C-29A17515C566}" destId="{635FF771-35C9-4403-A55A-FB31CB316DC3}" srcOrd="0" destOrd="0" presId="urn:microsoft.com/office/officeart/2005/8/layout/process4"/>
    <dgm:cxn modelId="{199137A4-C638-42F4-8610-6B55209B4A2E}" type="presOf" srcId="{486C129E-19BA-42F5-AD85-4C9625721C2E}" destId="{0EDD97D6-9FCF-4BD4-9B78-0101DA09CB2A}" srcOrd="0" destOrd="0" presId="urn:microsoft.com/office/officeart/2005/8/layout/process4"/>
    <dgm:cxn modelId="{BF6CEEA7-B79C-49B6-BBCB-C2F35D55C285}" srcId="{8C87F9F4-5C07-4BCA-92AB-A2A5B4F95435}" destId="{3E852CB3-B9A0-47C4-B2D3-60883BCA1CA1}" srcOrd="0" destOrd="0" parTransId="{EDBB7800-6DDB-4558-8FC8-C0BBF127EE1E}" sibTransId="{3E165C50-7E86-4743-8D75-7CCB095E30B2}"/>
    <dgm:cxn modelId="{02553EAA-3EAA-4D05-86DE-21CD4335B209}" type="presOf" srcId="{5E316323-377A-46B8-A4D4-E479C1061327}" destId="{AC2EE8B0-E87E-42A7-A10A-8C5F3FD4783F}" srcOrd="1" destOrd="0" presId="urn:microsoft.com/office/officeart/2005/8/layout/process4"/>
    <dgm:cxn modelId="{AB049FAC-75AE-448B-8CF3-A0CA18C8F25D}" type="presOf" srcId="{D851D966-4FFE-4248-A9C1-6453E25ADC83}" destId="{354D8C0C-0917-4BA0-8481-476F3B64DDF6}" srcOrd="0" destOrd="0" presId="urn:microsoft.com/office/officeart/2005/8/layout/process4"/>
    <dgm:cxn modelId="{60B3C5AF-2852-4A52-B4FB-8A34543BEDDC}" type="presOf" srcId="{5E316323-377A-46B8-A4D4-E479C1061327}" destId="{5BEA4B0D-108A-402E-9342-32517FE70D18}" srcOrd="0" destOrd="0" presId="urn:microsoft.com/office/officeart/2005/8/layout/process4"/>
    <dgm:cxn modelId="{EF1894B1-786B-4C9F-8FA3-0BA98A71499E}" type="presOf" srcId="{01144811-3E6A-4B10-9D28-C2C94578B690}" destId="{D5A9615E-6D64-42C7-A7F4-7B2D96EEBF35}" srcOrd="0" destOrd="0" presId="urn:microsoft.com/office/officeart/2005/8/layout/process4"/>
    <dgm:cxn modelId="{8E49B4B1-FC63-49B8-BAD7-A60077C98AE8}" srcId="{ECF94E61-4084-44A1-AABA-9A689F685C6C}" destId="{91582BEC-DE5A-4662-8627-FAC9CA581172}" srcOrd="2" destOrd="0" parTransId="{342E5849-ABA7-49EC-8025-935DA4F75F7A}" sibTransId="{F3E377B6-06D6-4DF9-99E8-B594BBDC001C}"/>
    <dgm:cxn modelId="{86D38FB3-7DDC-4070-8E9E-C31BEBECB6C8}" srcId="{7C456F81-39E8-4A49-BB92-6D9710B9C081}" destId="{ECF94E61-4084-44A1-AABA-9A689F685C6C}" srcOrd="4" destOrd="0" parTransId="{BD87D6B6-04C8-4739-AD36-76EAB8C1A15E}" sibTransId="{CC16C7ED-2927-4E54-B009-DCFCA86ABBF0}"/>
    <dgm:cxn modelId="{BADC30B5-6E31-4F3A-AC0D-69D148CCD2ED}" srcId="{E4B4F9F4-D240-4EF9-8A3E-0060574F32FE}" destId="{F5EC8EC5-E027-4459-81C0-DE7CCE6DEEA5}" srcOrd="2" destOrd="0" parTransId="{37BC18F4-84E6-4167-B9D4-7304DBED905A}" sibTransId="{72572AD4-9071-4727-9D55-DFB358A543CC}"/>
    <dgm:cxn modelId="{F659BFB7-D9D5-4C7B-8DD5-EB42490C1C74}" srcId="{5E316323-377A-46B8-A4D4-E479C1061327}" destId="{360B8BA3-9BEE-40EC-9021-F57BFDFD9DE8}" srcOrd="0" destOrd="0" parTransId="{9DF11160-0D78-4317-8393-A4EB775A8F07}" sibTransId="{9772E835-DAF3-4BE6-BFB5-21B108368A1E}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18EB9DBE-20E5-486B-A18F-F91E0E8A8A40}" type="presOf" srcId="{1C83024F-E411-41CF-A34F-1FB2BF6DFAE8}" destId="{757C85E8-B454-49CD-8F22-D3E9EB042994}" srcOrd="0" destOrd="0" presId="urn:microsoft.com/office/officeart/2005/8/layout/process4"/>
    <dgm:cxn modelId="{EA01F1BE-F7A3-412C-9F55-B39BC855A8B3}" srcId="{7C456F81-39E8-4A49-BB92-6D9710B9C081}" destId="{E4B4F9F4-D240-4EF9-8A3E-0060574F32FE}" srcOrd="0" destOrd="0" parTransId="{686EE54E-2CC1-4ABF-B221-047AC1ECAA71}" sibTransId="{EC5EB5C7-F1A2-4FE5-A33B-B7B5FE53412C}"/>
    <dgm:cxn modelId="{ABA46FC7-1D6F-48CE-A4D1-E536C9AE4690}" srcId="{5E316323-377A-46B8-A4D4-E479C1061327}" destId="{C4A5E8B2-6FE7-4443-B27B-C5216D0E330C}" srcOrd="2" destOrd="0" parTransId="{D6212ED3-FE7B-42BF-B63D-EF40702AC8A8}" sibTransId="{DD427D6D-9E2A-4FE7-85F7-EED83BBF7FC5}"/>
    <dgm:cxn modelId="{592387CB-F863-4082-AC3B-5CE459961FC7}" srcId="{5E316323-377A-46B8-A4D4-E479C1061327}" destId="{01144811-3E6A-4B10-9D28-C2C94578B690}" srcOrd="1" destOrd="0" parTransId="{167D2452-361D-4D97-84E5-9F38CACAD73B}" sibTransId="{4A2F5A53-F115-4B26-96B4-1C6FDDD0F286}"/>
    <dgm:cxn modelId="{9DDC52D3-9ACB-4F74-A722-C7F34EA681A0}" type="presOf" srcId="{3E852CB3-B9A0-47C4-B2D3-60883BCA1CA1}" destId="{9D8D2D06-5FB4-42DA-988C-D4400F8A15D7}" srcOrd="0" destOrd="0" presId="urn:microsoft.com/office/officeart/2005/8/layout/process4"/>
    <dgm:cxn modelId="{0E4F96DE-D09C-4EC4-8B90-C4C5FAC82807}" srcId="{D851D966-4FFE-4248-A9C1-6453E25ADC83}" destId="{A0D1D621-DA49-4B24-9D22-997E3493B32D}" srcOrd="1" destOrd="0" parTransId="{E3ECB5E8-A935-4CFC-8698-EA5FF877B4E3}" sibTransId="{EAEA91CA-D5DB-4CEF-B363-98AB51DD8415}"/>
    <dgm:cxn modelId="{6D7E6CE3-76F7-4624-BC25-4A8AF12EFE03}" type="presOf" srcId="{8C87F9F4-5C07-4BCA-92AB-A2A5B4F95435}" destId="{88E62E39-32A8-419B-AE60-E8065A6CD1E2}" srcOrd="0" destOrd="0" presId="urn:microsoft.com/office/officeart/2005/8/layout/process4"/>
    <dgm:cxn modelId="{857FC2E7-6FBE-48E8-9032-BA22D22B616C}" type="presOf" srcId="{8C87F9F4-5C07-4BCA-92AB-A2A5B4F95435}" destId="{95AD91AD-CB62-4BD8-94F0-DFCC20ABD171}" srcOrd="1" destOrd="0" presId="urn:microsoft.com/office/officeart/2005/8/layout/process4"/>
    <dgm:cxn modelId="{E5B183FA-F359-4FF2-B8BF-35CAE6F71480}" srcId="{7C456F81-39E8-4A49-BB92-6D9710B9C081}" destId="{5E316323-377A-46B8-A4D4-E479C1061327}" srcOrd="3" destOrd="0" parTransId="{5C5C39FD-74EE-486F-890E-28A1DAAF0B24}" sibTransId="{ECFC408D-DF0A-4D67-9B15-5D6A7CD7F7C3}"/>
    <dgm:cxn modelId="{1426243D-5367-49B5-86BF-CBA8853BEFED}" type="presParOf" srcId="{EB03EB6B-9574-4EA5-A153-18382C1F2F1E}" destId="{D3C3096E-56A6-4096-8CE1-7234C99FF698}" srcOrd="0" destOrd="0" presId="urn:microsoft.com/office/officeart/2005/8/layout/process4"/>
    <dgm:cxn modelId="{61A0AC50-CB54-4612-93B8-010957206BF6}" type="presParOf" srcId="{D3C3096E-56A6-4096-8CE1-7234C99FF698}" destId="{23E25BBB-CAA1-4613-9B0A-8E7313855BC1}" srcOrd="0" destOrd="0" presId="urn:microsoft.com/office/officeart/2005/8/layout/process4"/>
    <dgm:cxn modelId="{F2DB6199-EEE5-4A67-A214-7FCB762C675A}" type="presParOf" srcId="{D3C3096E-56A6-4096-8CE1-7234C99FF698}" destId="{9D4D0629-8307-48D1-983E-19A89023459E}" srcOrd="1" destOrd="0" presId="urn:microsoft.com/office/officeart/2005/8/layout/process4"/>
    <dgm:cxn modelId="{18311A6E-A855-4364-97E1-5B6BEDBADB8D}" type="presParOf" srcId="{D3C3096E-56A6-4096-8CE1-7234C99FF698}" destId="{0FD9A014-015D-443C-9B54-A3662BF4A3B5}" srcOrd="2" destOrd="0" presId="urn:microsoft.com/office/officeart/2005/8/layout/process4"/>
    <dgm:cxn modelId="{B8B568A4-D73A-435B-A160-76BAEFC98167}" type="presParOf" srcId="{0FD9A014-015D-443C-9B54-A3662BF4A3B5}" destId="{DEBFAFF2-398E-4993-B947-F97E616F6405}" srcOrd="0" destOrd="0" presId="urn:microsoft.com/office/officeart/2005/8/layout/process4"/>
    <dgm:cxn modelId="{D605EF61-3E57-4FBC-85A4-3F6255330440}" type="presParOf" srcId="{0FD9A014-015D-443C-9B54-A3662BF4A3B5}" destId="{635FF771-35C9-4403-A55A-FB31CB316DC3}" srcOrd="1" destOrd="0" presId="urn:microsoft.com/office/officeart/2005/8/layout/process4"/>
    <dgm:cxn modelId="{84C9D22A-20B7-453D-9825-482E9704757F}" type="presParOf" srcId="{0FD9A014-015D-443C-9B54-A3662BF4A3B5}" destId="{E20A101E-7118-4273-9932-D019582BC7E5}" srcOrd="2" destOrd="0" presId="urn:microsoft.com/office/officeart/2005/8/layout/process4"/>
    <dgm:cxn modelId="{84F965F3-4D19-49DD-9D1A-072A49592275}" type="presParOf" srcId="{EB03EB6B-9574-4EA5-A153-18382C1F2F1E}" destId="{A356B024-FED8-4F6C-A805-E4746E502B39}" srcOrd="1" destOrd="0" presId="urn:microsoft.com/office/officeart/2005/8/layout/process4"/>
    <dgm:cxn modelId="{C407BA8A-B8F9-4DBC-AB51-B769A0215587}" type="presParOf" srcId="{EB03EB6B-9574-4EA5-A153-18382C1F2F1E}" destId="{E6D9A1BE-4E9C-4AAE-8D50-2B9A3A1DCC7F}" srcOrd="2" destOrd="0" presId="urn:microsoft.com/office/officeart/2005/8/layout/process4"/>
    <dgm:cxn modelId="{6B1F632F-B8BB-43D8-A206-0FD3E73BFAF5}" type="presParOf" srcId="{E6D9A1BE-4E9C-4AAE-8D50-2B9A3A1DCC7F}" destId="{5BEA4B0D-108A-402E-9342-32517FE70D18}" srcOrd="0" destOrd="0" presId="urn:microsoft.com/office/officeart/2005/8/layout/process4"/>
    <dgm:cxn modelId="{BD723F0B-FFE8-497E-85CF-6A18DE025BEB}" type="presParOf" srcId="{E6D9A1BE-4E9C-4AAE-8D50-2B9A3A1DCC7F}" destId="{AC2EE8B0-E87E-42A7-A10A-8C5F3FD4783F}" srcOrd="1" destOrd="0" presId="urn:microsoft.com/office/officeart/2005/8/layout/process4"/>
    <dgm:cxn modelId="{86C094D5-D4E5-44A9-A953-D1F801E988B6}" type="presParOf" srcId="{E6D9A1BE-4E9C-4AAE-8D50-2B9A3A1DCC7F}" destId="{8E35B08F-7893-43A6-ABE4-FC2EB7D14808}" srcOrd="2" destOrd="0" presId="urn:microsoft.com/office/officeart/2005/8/layout/process4"/>
    <dgm:cxn modelId="{51488247-1426-471B-93CC-1B15D2E6593F}" type="presParOf" srcId="{8E35B08F-7893-43A6-ABE4-FC2EB7D14808}" destId="{007CFC69-67D0-405F-A6F8-03FBB5EBCBD4}" srcOrd="0" destOrd="0" presId="urn:microsoft.com/office/officeart/2005/8/layout/process4"/>
    <dgm:cxn modelId="{7AE188C3-0D86-4F47-8956-72BAA66EFACC}" type="presParOf" srcId="{8E35B08F-7893-43A6-ABE4-FC2EB7D14808}" destId="{D5A9615E-6D64-42C7-A7F4-7B2D96EEBF35}" srcOrd="1" destOrd="0" presId="urn:microsoft.com/office/officeart/2005/8/layout/process4"/>
    <dgm:cxn modelId="{682217E3-81B5-4741-9888-36E74260EC48}" type="presParOf" srcId="{8E35B08F-7893-43A6-ABE4-FC2EB7D14808}" destId="{2CE9A198-0D82-4501-923D-1C7A3202EBC9}" srcOrd="2" destOrd="0" presId="urn:microsoft.com/office/officeart/2005/8/layout/process4"/>
    <dgm:cxn modelId="{5E81BB18-A888-43CC-89BA-63D55BCF30BF}" type="presParOf" srcId="{EB03EB6B-9574-4EA5-A153-18382C1F2F1E}" destId="{3B5B80E6-D439-44F0-A337-A96C8DB6A6E1}" srcOrd="3" destOrd="0" presId="urn:microsoft.com/office/officeart/2005/8/layout/process4"/>
    <dgm:cxn modelId="{5A19BBD2-DA14-44B0-93A8-3D28A1B1FD0C}" type="presParOf" srcId="{EB03EB6B-9574-4EA5-A153-18382C1F2F1E}" destId="{3FCA7FD0-DDE1-405C-9141-CFA4BEE19740}" srcOrd="4" destOrd="0" presId="urn:microsoft.com/office/officeart/2005/8/layout/process4"/>
    <dgm:cxn modelId="{C8E3D2F1-4616-4AAD-911C-76700EF3330B}" type="presParOf" srcId="{3FCA7FD0-DDE1-405C-9141-CFA4BEE19740}" destId="{88E62E39-32A8-419B-AE60-E8065A6CD1E2}" srcOrd="0" destOrd="0" presId="urn:microsoft.com/office/officeart/2005/8/layout/process4"/>
    <dgm:cxn modelId="{CEA21E01-227E-4679-84CF-4EF54B276DB6}" type="presParOf" srcId="{3FCA7FD0-DDE1-405C-9141-CFA4BEE19740}" destId="{95AD91AD-CB62-4BD8-94F0-DFCC20ABD171}" srcOrd="1" destOrd="0" presId="urn:microsoft.com/office/officeart/2005/8/layout/process4"/>
    <dgm:cxn modelId="{3869FD21-98F3-4DC0-B341-EC7D8E50B289}" type="presParOf" srcId="{3FCA7FD0-DDE1-405C-9141-CFA4BEE19740}" destId="{49659649-2EF7-4586-A95B-58970F77117F}" srcOrd="2" destOrd="0" presId="urn:microsoft.com/office/officeart/2005/8/layout/process4"/>
    <dgm:cxn modelId="{8B80D072-467C-43A5-B396-DB2A8C614AA4}" type="presParOf" srcId="{49659649-2EF7-4586-A95B-58970F77117F}" destId="{9D8D2D06-5FB4-42DA-988C-D4400F8A15D7}" srcOrd="0" destOrd="0" presId="urn:microsoft.com/office/officeart/2005/8/layout/process4"/>
    <dgm:cxn modelId="{2BD24688-C5C6-4777-8B4C-61402AE4305A}" type="presParOf" srcId="{49659649-2EF7-4586-A95B-58970F77117F}" destId="{757C85E8-B454-49CD-8F22-D3E9EB042994}" srcOrd="1" destOrd="0" presId="urn:microsoft.com/office/officeart/2005/8/layout/process4"/>
    <dgm:cxn modelId="{ED458666-95E1-4DE7-8C92-18DAA5B11F75}" type="presParOf" srcId="{49659649-2EF7-4586-A95B-58970F77117F}" destId="{49A26938-D933-49A6-8EA8-CC39758147BA}" srcOrd="2" destOrd="0" presId="urn:microsoft.com/office/officeart/2005/8/layout/process4"/>
    <dgm:cxn modelId="{C37EECDB-B0D5-4A63-BEB6-467703E3FB05}" type="presParOf" srcId="{EB03EB6B-9574-4EA5-A153-18382C1F2F1E}" destId="{5C7A3FD8-99A0-40CE-B189-AE89EE7F92DA}" srcOrd="5" destOrd="0" presId="urn:microsoft.com/office/officeart/2005/8/layout/process4"/>
    <dgm:cxn modelId="{62D44498-FB3A-483F-82B8-B79064F3756F}" type="presParOf" srcId="{EB03EB6B-9574-4EA5-A153-18382C1F2F1E}" destId="{9105E249-8148-470D-9574-1C494EBCD5E3}" srcOrd="6" destOrd="0" presId="urn:microsoft.com/office/officeart/2005/8/layout/process4"/>
    <dgm:cxn modelId="{2BC045D2-AE29-4733-A160-627CF9059BFE}" type="presParOf" srcId="{9105E249-8148-470D-9574-1C494EBCD5E3}" destId="{354D8C0C-0917-4BA0-8481-476F3B64DDF6}" srcOrd="0" destOrd="0" presId="urn:microsoft.com/office/officeart/2005/8/layout/process4"/>
    <dgm:cxn modelId="{3A600F2A-CCAD-49A9-BBB3-E181F84D224C}" type="presParOf" srcId="{9105E249-8148-470D-9574-1C494EBCD5E3}" destId="{DE4459A0-95C5-4725-9F03-9A0AD2F9926A}" srcOrd="1" destOrd="0" presId="urn:microsoft.com/office/officeart/2005/8/layout/process4"/>
    <dgm:cxn modelId="{AD507E45-5C62-4FEC-B779-5A03C53A1631}" type="presParOf" srcId="{9105E249-8148-470D-9574-1C494EBCD5E3}" destId="{A5543260-F659-408F-9B54-DC9A6C06DF1F}" srcOrd="2" destOrd="0" presId="urn:microsoft.com/office/officeart/2005/8/layout/process4"/>
    <dgm:cxn modelId="{7A3AECCF-5836-413F-9275-712F989489AA}" type="presParOf" srcId="{A5543260-F659-408F-9B54-DC9A6C06DF1F}" destId="{B6AD687A-D1FE-4304-8D99-21A7AA53D287}" srcOrd="0" destOrd="0" presId="urn:microsoft.com/office/officeart/2005/8/layout/process4"/>
    <dgm:cxn modelId="{61CB0C56-3322-4F47-9201-502B74520E83}" type="presParOf" srcId="{A5543260-F659-408F-9B54-DC9A6C06DF1F}" destId="{62EB7941-A74D-4F18-8DE5-485D8A2C4F3A}" srcOrd="1" destOrd="0" presId="urn:microsoft.com/office/officeart/2005/8/layout/process4"/>
    <dgm:cxn modelId="{EE01AE9F-027A-4415-9ADC-458E2A20058A}" type="presParOf" srcId="{A5543260-F659-408F-9B54-DC9A6C06DF1F}" destId="{CEB0F7B0-2A19-4F09-BDC3-8C3B0ACA1B28}" srcOrd="2" destOrd="0" presId="urn:microsoft.com/office/officeart/2005/8/layout/process4"/>
    <dgm:cxn modelId="{030C419F-30B9-4F59-B82C-F0A32614720F}" type="presParOf" srcId="{EB03EB6B-9574-4EA5-A153-18382C1F2F1E}" destId="{1713176F-A260-4F41-BE91-6CED18B891A8}" srcOrd="7" destOrd="0" presId="urn:microsoft.com/office/officeart/2005/8/layout/process4"/>
    <dgm:cxn modelId="{5E46E6D5-6D76-4030-BAC7-77C1FBD7F027}" type="presParOf" srcId="{EB03EB6B-9574-4EA5-A153-18382C1F2F1E}" destId="{4B80C2B2-1C45-4E43-B99D-7E755D5F1010}" srcOrd="8" destOrd="0" presId="urn:microsoft.com/office/officeart/2005/8/layout/process4"/>
    <dgm:cxn modelId="{81BD8AD5-E69B-44E6-AE2B-E6F4F739B41E}" type="presParOf" srcId="{4B80C2B2-1C45-4E43-B99D-7E755D5F1010}" destId="{7187319B-27A8-4119-9C65-A9B885720148}" srcOrd="0" destOrd="0" presId="urn:microsoft.com/office/officeart/2005/8/layout/process4"/>
    <dgm:cxn modelId="{E8E2C035-154E-4B68-9A74-22659D539B55}" type="presParOf" srcId="{4B80C2B2-1C45-4E43-B99D-7E755D5F1010}" destId="{F88137AA-2751-494D-A2CA-74235065E832}" srcOrd="1" destOrd="0" presId="urn:microsoft.com/office/officeart/2005/8/layout/process4"/>
    <dgm:cxn modelId="{58E61E2F-EC20-43A5-B425-417F0C0CD9D8}" type="presParOf" srcId="{4B80C2B2-1C45-4E43-B99D-7E755D5F1010}" destId="{17FADE8B-944B-4353-9345-07596CE7FC8F}" srcOrd="2" destOrd="0" presId="urn:microsoft.com/office/officeart/2005/8/layout/process4"/>
    <dgm:cxn modelId="{E91AD50F-59F5-4E0C-B2A2-3F82738BDC2D}" type="presParOf" srcId="{17FADE8B-944B-4353-9345-07596CE7FC8F}" destId="{0EDD97D6-9FCF-4BD4-9B78-0101DA09CB2A}" srcOrd="0" destOrd="0" presId="urn:microsoft.com/office/officeart/2005/8/layout/process4"/>
    <dgm:cxn modelId="{79ED6CA3-2843-455E-B84C-11978E4DC9F4}" type="presParOf" srcId="{17FADE8B-944B-4353-9345-07596CE7FC8F}" destId="{5B48657E-BE30-4828-B247-6BF8C67A5417}" srcOrd="1" destOrd="0" presId="urn:microsoft.com/office/officeart/2005/8/layout/process4"/>
    <dgm:cxn modelId="{19636885-9EF5-4A68-9E63-A7A621217DFB}" type="presParOf" srcId="{17FADE8B-944B-4353-9345-07596CE7FC8F}" destId="{775BC43A-FF86-4AE6-A97D-A464BAB13759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C456F81-39E8-4A49-BB92-6D9710B9C081}" type="doc">
      <dgm:prSet loTypeId="urn:microsoft.com/office/officeart/2005/8/layout/cycle4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E4B4F9F4-D240-4EF9-8A3E-0060574F32F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omercial : Apps y Soluciones</a:t>
          </a:r>
        </a:p>
      </dgm:t>
    </dgm:pt>
    <dgm:pt modelId="{686EE54E-2CC1-4ABF-B221-047AC1ECAA71}" type="par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5EB5C7-F1A2-4FE5-A33B-B7B5FE53412C}" type="sibTrans" cxnId="{EA01F1BE-F7A3-412C-9F55-B39BC855A8B3}">
      <dgm:prSet/>
      <dgm:spPr/>
      <dgm:t>
        <a:bodyPr/>
        <a:lstStyle/>
        <a:p>
          <a:pPr algn="l"/>
          <a:endParaRPr lang="es-PE" sz="3200" b="1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929002E-3CFB-46F1-9DED-701E6BDDBBE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ilvestre Acosta :Líder</a:t>
          </a:r>
        </a:p>
      </dgm:t>
    </dgm:pt>
    <dgm:pt modelId="{AD8E2242-6023-4FA1-A34B-BE65322F502E}" type="par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D4F85F6-A19F-4209-A6A7-43F65AB97D31}" type="sibTrans" cxnId="{9E9AA05F-1AE7-427C-9081-FB058A3450E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851D966-4FFE-4248-A9C1-6453E25ADC83}">
      <dgm:prSet phldrT="[Texto]" custT="1"/>
      <dgm:spPr/>
      <dgm:t>
        <a:bodyPr/>
        <a:lstStyle/>
        <a:p>
          <a:pPr algn="l"/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Analytics</a:t>
          </a:r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: Modelos Predictivos</a:t>
          </a:r>
        </a:p>
      </dgm:t>
    </dgm:pt>
    <dgm:pt modelId="{5E16AFD8-F9BA-4FD1-A09E-BF3EB0578E8E}" type="par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F299E59F-7CA7-4FC3-AA01-D1FBB0859174}" type="sibTrans" cxnId="{BDBF4014-9DB3-4E4E-B72A-454B7E2B309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86C129E-19BA-42F5-AD85-4C9625721C2E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rlos Vera : Líder </a:t>
          </a:r>
        </a:p>
      </dgm:t>
    </dgm:pt>
    <dgm:pt modelId="{2518069B-D169-447B-B127-B67FFA8CB6F5}" type="sib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DBDF2E7B-215A-4B79-8F34-A839D73F2DE2}" type="parTrans" cxnId="{6AD96DBB-BC61-4CC6-A281-CE508CCA3143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C87F9F4-5C07-4BCA-92AB-A2A5B4F95435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Funcional</a:t>
          </a:r>
        </a:p>
      </dgm:t>
    </dgm:pt>
    <dgm:pt modelId="{C90170B8-5182-4F3F-A080-9441DEDFD996}" type="par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EBC2197-080B-4783-816B-CDB3942CA110}" type="sibTrans" cxnId="{C5946918-E62E-4BD7-9743-80867A6A281E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5E316323-377A-46B8-A4D4-E479C1061327}">
      <dgm:prSet phldrT="[Texto]" custT="1"/>
      <dgm:spPr/>
      <dgm:t>
        <a:bodyPr/>
        <a:lstStyle/>
        <a:p>
          <a:pPr algn="l"/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Power</a:t>
          </a:r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 BI y ETL</a:t>
          </a:r>
        </a:p>
      </dgm:t>
    </dgm:pt>
    <dgm:pt modelId="{5C5C39FD-74EE-486F-890E-28A1DAAF0B24}" type="par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ECFC408D-DF0A-4D67-9B15-5D6A7CD7F7C3}" type="sibTrans" cxnId="{E5B183FA-F359-4FF2-B8BF-35CAE6F71480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852CB3-B9A0-47C4-B2D3-60883BCA1CA1}">
      <dgm:prSet phldrT="[Texto]" custT="1"/>
      <dgm:spPr/>
      <dgm:t>
        <a:bodyPr/>
        <a:lstStyle/>
        <a:p>
          <a:pPr algn="ctr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Tamara </a:t>
          </a:r>
        </a:p>
      </dgm:t>
    </dgm:pt>
    <dgm:pt modelId="{EDBB7800-6DDB-4558-8FC8-C0BBF127EE1E}" type="par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E165C50-7E86-4743-8D75-7CCB095E30B2}" type="sibTrans" cxnId="{BF6CEEA7-B79C-49B6-BBCB-C2F35D55C285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360B8BA3-9BEE-40EC-9021-F57BFDFD9DE8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Silvestre Acosta :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Lider</a:t>
          </a:r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DF11160-0D78-4317-8393-A4EB775A8F07}" type="par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772E835-DAF3-4BE6-BFB5-21B108368A1E}" type="sibTrans" cxnId="{F659BFB7-D9D5-4C7B-8DD5-EB42490C1C74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B3F148-D3AB-4DE9-8484-36EFA907849C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Carmen Abad : </a:t>
          </a:r>
          <a:r>
            <a:rPr lang="es-PE" sz="2400" b="1" dirty="0" err="1">
              <a:latin typeface="Roboto" panose="02000000000000000000" pitchFamily="2" charset="0"/>
              <a:ea typeface="Roboto" panose="02000000000000000000" pitchFamily="2" charset="0"/>
            </a:rPr>
            <a:t>Account</a:t>
          </a:r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 Manager</a:t>
          </a:r>
        </a:p>
      </dgm:t>
    </dgm:pt>
    <dgm:pt modelId="{CD72EACC-C299-4AEC-8B2F-673F67F78823}" type="par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98EC97FF-47A0-4996-A0CE-CE0686EDB039}" type="sibTrans" cxnId="{DEDDF041-E200-4C34-833F-58439D2B837F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01144811-3E6A-4B10-9D28-C2C94578B690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Antonio Tolosa :PBI</a:t>
          </a:r>
        </a:p>
      </dgm:t>
    </dgm:pt>
    <dgm:pt modelId="{167D2452-361D-4D97-84E5-9F38CACAD73B}" type="par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4A2F5A53-F115-4B26-96B4-1C6FDDD0F286}" type="sibTrans" cxnId="{592387CB-F863-4082-AC3B-5CE459961FC7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8799AD75-C80E-4271-93C2-34DA1D23ED4F}">
      <dgm:prSet phldrT="[Texto]" custT="1"/>
      <dgm:spPr/>
      <dgm:t>
        <a:bodyPr/>
        <a:lstStyle/>
        <a:p>
          <a:pPr algn="ctr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1D2A9084-604E-43CF-A4CF-72DC21EA2934}" type="par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71E0072C-1879-43C0-90AD-12BCFEA3EB33}" type="sibTrans" cxnId="{E9B8BA10-FC82-4C8E-8BE9-C2E69019A018}">
      <dgm:prSet/>
      <dgm:spPr/>
      <dgm:t>
        <a:bodyPr/>
        <a:lstStyle/>
        <a:p>
          <a:pPr algn="l"/>
          <a:endParaRPr lang="es-PE" sz="320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C03B12CA-C127-4A9D-B567-EBA22F854EF2}">
      <dgm:prSet phldrT="[Texto]" custT="1"/>
      <dgm:spPr/>
      <dgm:t>
        <a:bodyPr/>
        <a:lstStyle/>
        <a:p>
          <a:pPr algn="l"/>
          <a:endParaRPr lang="es-PE" sz="2400" b="1" dirty="0">
            <a:latin typeface="Roboto" panose="02000000000000000000" pitchFamily="2" charset="0"/>
            <a:ea typeface="Roboto" panose="02000000000000000000" pitchFamily="2" charset="0"/>
          </a:endParaRPr>
        </a:p>
      </dgm:t>
    </dgm:pt>
    <dgm:pt modelId="{223AE657-B547-42D2-BCC0-100382CA802D}" type="parTrans" cxnId="{A942A1E9-8B79-4026-AED5-0E36C4274B83}">
      <dgm:prSet/>
      <dgm:spPr/>
      <dgm:t>
        <a:bodyPr/>
        <a:lstStyle/>
        <a:p>
          <a:endParaRPr lang="es-PE"/>
        </a:p>
      </dgm:t>
    </dgm:pt>
    <dgm:pt modelId="{9EA55493-7F84-4ED3-AF96-676ED6F03F79}" type="sibTrans" cxnId="{A942A1E9-8B79-4026-AED5-0E36C4274B83}">
      <dgm:prSet/>
      <dgm:spPr/>
      <dgm:t>
        <a:bodyPr/>
        <a:lstStyle/>
        <a:p>
          <a:endParaRPr lang="es-PE"/>
        </a:p>
      </dgm:t>
    </dgm:pt>
    <dgm:pt modelId="{7C3C2334-FDB1-45ED-9ED0-89F3C19363D6}">
      <dgm:prSet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Yakori : Desarrollo </a:t>
          </a:r>
        </a:p>
      </dgm:t>
    </dgm:pt>
    <dgm:pt modelId="{B4FC8E28-1C3B-4D0C-8A6D-516465F47162}" type="parTrans" cxnId="{6B1ED6C1-3B4E-4D3D-8970-FE5CB33934AB}">
      <dgm:prSet/>
      <dgm:spPr/>
      <dgm:t>
        <a:bodyPr/>
        <a:lstStyle/>
        <a:p>
          <a:endParaRPr lang="es-PE"/>
        </a:p>
      </dgm:t>
    </dgm:pt>
    <dgm:pt modelId="{0D54DF41-42C8-4324-8C49-E27866BFC722}" type="sibTrans" cxnId="{6B1ED6C1-3B4E-4D3D-8970-FE5CB33934AB}">
      <dgm:prSet/>
      <dgm:spPr/>
      <dgm:t>
        <a:bodyPr/>
        <a:lstStyle/>
        <a:p>
          <a:endParaRPr lang="es-PE"/>
        </a:p>
      </dgm:t>
    </dgm:pt>
    <dgm:pt modelId="{1485992C-ACF2-43E9-94CE-A2B4DBDF0FED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Yakori : ETL</a:t>
          </a:r>
        </a:p>
      </dgm:t>
    </dgm:pt>
    <dgm:pt modelId="{A23B9CB8-1FF4-405E-8268-456ABCFA41C5}" type="parTrans" cxnId="{FEF3D2A9-9069-4029-859D-D68E3229E3A4}">
      <dgm:prSet/>
      <dgm:spPr/>
      <dgm:t>
        <a:bodyPr/>
        <a:lstStyle/>
        <a:p>
          <a:endParaRPr lang="es-PE"/>
        </a:p>
      </dgm:t>
    </dgm:pt>
    <dgm:pt modelId="{BBFF37DB-83BB-476F-8104-B46484E0080F}" type="sibTrans" cxnId="{FEF3D2A9-9069-4029-859D-D68E3229E3A4}">
      <dgm:prSet/>
      <dgm:spPr/>
      <dgm:t>
        <a:bodyPr/>
        <a:lstStyle/>
        <a:p>
          <a:endParaRPr lang="es-PE"/>
        </a:p>
      </dgm:t>
    </dgm:pt>
    <dgm:pt modelId="{807A796C-59CA-4B47-B41B-40C215B37FB1}">
      <dgm:prSet phldrT="[Texto]" custT="1"/>
      <dgm:spPr/>
      <dgm:t>
        <a:bodyPr/>
        <a:lstStyle/>
        <a:p>
          <a:pPr algn="l"/>
          <a:r>
            <a:rPr lang="es-PE" sz="2400" b="1" dirty="0">
              <a:latin typeface="Roboto" panose="02000000000000000000" pitchFamily="2" charset="0"/>
              <a:ea typeface="Roboto" panose="02000000000000000000" pitchFamily="2" charset="0"/>
            </a:rPr>
            <a:t>Marco</a:t>
          </a:r>
        </a:p>
      </dgm:t>
    </dgm:pt>
    <dgm:pt modelId="{0E5CD37A-C285-4743-8F96-F96C59D9013D}" type="sibTrans" cxnId="{8AA9458F-1113-4060-B603-C3A724257806}">
      <dgm:prSet/>
      <dgm:spPr/>
      <dgm:t>
        <a:bodyPr/>
        <a:lstStyle/>
        <a:p>
          <a:endParaRPr lang="es-PE"/>
        </a:p>
      </dgm:t>
    </dgm:pt>
    <dgm:pt modelId="{167030ED-EC0B-42C3-8F22-682389369422}" type="parTrans" cxnId="{8AA9458F-1113-4060-B603-C3A724257806}">
      <dgm:prSet/>
      <dgm:spPr/>
      <dgm:t>
        <a:bodyPr/>
        <a:lstStyle/>
        <a:p>
          <a:endParaRPr lang="es-PE"/>
        </a:p>
      </dgm:t>
    </dgm:pt>
    <dgm:pt modelId="{BDE4CEE4-C47C-45EC-81AD-A1BC60FDF352}" type="pres">
      <dgm:prSet presAssocID="{7C456F81-39E8-4A49-BB92-6D9710B9C081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62491048-5F76-467B-AE99-5133D1177474}" type="pres">
      <dgm:prSet presAssocID="{7C456F81-39E8-4A49-BB92-6D9710B9C081}" presName="children" presStyleCnt="0"/>
      <dgm:spPr/>
    </dgm:pt>
    <dgm:pt modelId="{6E853767-6E31-4444-AF02-7B2CBE101B8E}" type="pres">
      <dgm:prSet presAssocID="{7C456F81-39E8-4A49-BB92-6D9710B9C081}" presName="child1group" presStyleCnt="0"/>
      <dgm:spPr/>
    </dgm:pt>
    <dgm:pt modelId="{C29649C1-A21A-4DA3-B338-7BCE30F32902}" type="pres">
      <dgm:prSet presAssocID="{7C456F81-39E8-4A49-BB92-6D9710B9C081}" presName="child1" presStyleLbl="bgAcc1" presStyleIdx="0" presStyleCnt="4" custScaleX="124258"/>
      <dgm:spPr/>
    </dgm:pt>
    <dgm:pt modelId="{3296EC63-F60C-416C-A940-CC7B10F00735}" type="pres">
      <dgm:prSet presAssocID="{7C456F81-39E8-4A49-BB92-6D9710B9C081}" presName="child1Text" presStyleLbl="bgAcc1" presStyleIdx="0" presStyleCnt="4">
        <dgm:presLayoutVars>
          <dgm:bulletEnabled val="1"/>
        </dgm:presLayoutVars>
      </dgm:prSet>
      <dgm:spPr/>
    </dgm:pt>
    <dgm:pt modelId="{8303CC75-F15F-4FEE-ACBD-EA591A19E76D}" type="pres">
      <dgm:prSet presAssocID="{7C456F81-39E8-4A49-BB92-6D9710B9C081}" presName="child2group" presStyleCnt="0"/>
      <dgm:spPr/>
    </dgm:pt>
    <dgm:pt modelId="{2FE30161-5C60-466C-9BF5-CEFA31F54EA4}" type="pres">
      <dgm:prSet presAssocID="{7C456F81-39E8-4A49-BB92-6D9710B9C081}" presName="child2" presStyleLbl="bgAcc1" presStyleIdx="1" presStyleCnt="4" custScaleX="124258"/>
      <dgm:spPr/>
    </dgm:pt>
    <dgm:pt modelId="{0490E39C-4561-4FD8-A041-E2CE221E0201}" type="pres">
      <dgm:prSet presAssocID="{7C456F81-39E8-4A49-BB92-6D9710B9C081}" presName="child2Text" presStyleLbl="bgAcc1" presStyleIdx="1" presStyleCnt="4">
        <dgm:presLayoutVars>
          <dgm:bulletEnabled val="1"/>
        </dgm:presLayoutVars>
      </dgm:prSet>
      <dgm:spPr/>
    </dgm:pt>
    <dgm:pt modelId="{54800330-ABE4-45B8-A995-4267527DC675}" type="pres">
      <dgm:prSet presAssocID="{7C456F81-39E8-4A49-BB92-6D9710B9C081}" presName="child3group" presStyleCnt="0"/>
      <dgm:spPr/>
    </dgm:pt>
    <dgm:pt modelId="{88A41F62-FAE9-43B9-9163-89540FD6DEC1}" type="pres">
      <dgm:prSet presAssocID="{7C456F81-39E8-4A49-BB92-6D9710B9C081}" presName="child3" presStyleLbl="bgAcc1" presStyleIdx="2" presStyleCnt="4" custScaleX="124258"/>
      <dgm:spPr/>
    </dgm:pt>
    <dgm:pt modelId="{F880890C-E0DB-4561-89DF-2CC0FF9360F6}" type="pres">
      <dgm:prSet presAssocID="{7C456F81-39E8-4A49-BB92-6D9710B9C081}" presName="child3Text" presStyleLbl="bgAcc1" presStyleIdx="2" presStyleCnt="4">
        <dgm:presLayoutVars>
          <dgm:bulletEnabled val="1"/>
        </dgm:presLayoutVars>
      </dgm:prSet>
      <dgm:spPr/>
    </dgm:pt>
    <dgm:pt modelId="{77607CE4-FF30-4062-968C-144ED4541439}" type="pres">
      <dgm:prSet presAssocID="{7C456F81-39E8-4A49-BB92-6D9710B9C081}" presName="child4group" presStyleCnt="0"/>
      <dgm:spPr/>
    </dgm:pt>
    <dgm:pt modelId="{B4C96BEC-98F9-4EC5-AC0B-14E5BD424531}" type="pres">
      <dgm:prSet presAssocID="{7C456F81-39E8-4A49-BB92-6D9710B9C081}" presName="child4" presStyleLbl="bgAcc1" presStyleIdx="3" presStyleCnt="4" custScaleX="124258"/>
      <dgm:spPr/>
    </dgm:pt>
    <dgm:pt modelId="{2D81F979-A773-416C-BD04-9CD94B0F524A}" type="pres">
      <dgm:prSet presAssocID="{7C456F81-39E8-4A49-BB92-6D9710B9C081}" presName="child4Text" presStyleLbl="bgAcc1" presStyleIdx="3" presStyleCnt="4">
        <dgm:presLayoutVars>
          <dgm:bulletEnabled val="1"/>
        </dgm:presLayoutVars>
      </dgm:prSet>
      <dgm:spPr/>
    </dgm:pt>
    <dgm:pt modelId="{FDE757A6-8470-4F81-B7A1-D7B39E4E607E}" type="pres">
      <dgm:prSet presAssocID="{7C456F81-39E8-4A49-BB92-6D9710B9C081}" presName="childPlaceholder" presStyleCnt="0"/>
      <dgm:spPr/>
    </dgm:pt>
    <dgm:pt modelId="{384C7EE9-0388-4DA1-BD85-966B9DA5D161}" type="pres">
      <dgm:prSet presAssocID="{7C456F81-39E8-4A49-BB92-6D9710B9C081}" presName="circle" presStyleCnt="0"/>
      <dgm:spPr/>
    </dgm:pt>
    <dgm:pt modelId="{048FFB3B-5C29-49EB-AAB3-FDFCE6B26557}" type="pres">
      <dgm:prSet presAssocID="{7C456F81-39E8-4A49-BB92-6D9710B9C081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59459A3E-2B79-4498-9275-243D04AC410B}" type="pres">
      <dgm:prSet presAssocID="{7C456F81-39E8-4A49-BB92-6D9710B9C081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A3B16A58-2DDC-4772-A2E5-036D308AB6DA}" type="pres">
      <dgm:prSet presAssocID="{7C456F81-39E8-4A49-BB92-6D9710B9C081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075A8DE5-85A6-4DDB-8683-6AC871D00272}" type="pres">
      <dgm:prSet presAssocID="{7C456F81-39E8-4A49-BB92-6D9710B9C081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C4F9DF83-19E7-4294-9EAB-6E3226948A20}" type="pres">
      <dgm:prSet presAssocID="{7C456F81-39E8-4A49-BB92-6D9710B9C081}" presName="quadrantPlaceholder" presStyleCnt="0"/>
      <dgm:spPr/>
    </dgm:pt>
    <dgm:pt modelId="{2934D2CC-D2D2-4613-8CAD-C85CD795A0B6}" type="pres">
      <dgm:prSet presAssocID="{7C456F81-39E8-4A49-BB92-6D9710B9C081}" presName="center1" presStyleLbl="fgShp" presStyleIdx="0" presStyleCnt="2"/>
      <dgm:spPr/>
    </dgm:pt>
    <dgm:pt modelId="{9212ADAD-FAEF-411D-AFA9-FF42E3FF5D3C}" type="pres">
      <dgm:prSet presAssocID="{7C456F81-39E8-4A49-BB92-6D9710B9C081}" presName="center2" presStyleLbl="fgShp" presStyleIdx="1" presStyleCnt="2"/>
      <dgm:spPr/>
    </dgm:pt>
  </dgm:ptLst>
  <dgm:cxnLst>
    <dgm:cxn modelId="{E2FFA002-D3DA-4E19-BFE4-8324C4824874}" type="presOf" srcId="{8799AD75-C80E-4271-93C2-34DA1D23ED4F}" destId="{F880890C-E0DB-4561-89DF-2CC0FF9360F6}" srcOrd="1" destOrd="1" presId="urn:microsoft.com/office/officeart/2005/8/layout/cycle4"/>
    <dgm:cxn modelId="{E9B8BA10-FC82-4C8E-8BE9-C2E69019A018}" srcId="{8C87F9F4-5C07-4BCA-92AB-A2A5B4F95435}" destId="{8799AD75-C80E-4271-93C2-34DA1D23ED4F}" srcOrd="1" destOrd="0" parTransId="{1D2A9084-604E-43CF-A4CF-72DC21EA2934}" sibTransId="{71E0072C-1879-43C0-90AD-12BCFEA3EB33}"/>
    <dgm:cxn modelId="{BDBF4014-9DB3-4E4E-B72A-454B7E2B3097}" srcId="{7C456F81-39E8-4A49-BB92-6D9710B9C081}" destId="{D851D966-4FFE-4248-A9C1-6453E25ADC83}" srcOrd="1" destOrd="0" parTransId="{5E16AFD8-F9BA-4FD1-A09E-BF3EB0578E8E}" sibTransId="{F299E59F-7CA7-4FC3-AA01-D1FBB0859174}"/>
    <dgm:cxn modelId="{5C659416-6146-45A4-AADB-EFB57F07326C}" type="presOf" srcId="{0929002E-3CFB-46F1-9DED-701E6BDDBBE5}" destId="{0490E39C-4561-4FD8-A041-E2CE221E0201}" srcOrd="1" destOrd="0" presId="urn:microsoft.com/office/officeart/2005/8/layout/cycle4"/>
    <dgm:cxn modelId="{C5946918-E62E-4BD7-9743-80867A6A281E}" srcId="{7C456F81-39E8-4A49-BB92-6D9710B9C081}" destId="{8C87F9F4-5C07-4BCA-92AB-A2A5B4F95435}" srcOrd="2" destOrd="0" parTransId="{C90170B8-5182-4F3F-A080-9441DEDFD996}" sibTransId="{9EBC2197-080B-4783-816B-CDB3942CA110}"/>
    <dgm:cxn modelId="{F89F1331-D109-4373-A2B7-B6DA43A08761}" type="presOf" srcId="{0929002E-3CFB-46F1-9DED-701E6BDDBBE5}" destId="{2FE30161-5C60-466C-9BF5-CEFA31F54EA4}" srcOrd="0" destOrd="0" presId="urn:microsoft.com/office/officeart/2005/8/layout/cycle4"/>
    <dgm:cxn modelId="{52F30536-B6F6-4C20-90B9-8B44E79CF3E2}" type="presOf" srcId="{807A796C-59CA-4B47-B41B-40C215B37FB1}" destId="{2D81F979-A773-416C-BD04-9CD94B0F524A}" srcOrd="1" destOrd="3" presId="urn:microsoft.com/office/officeart/2005/8/layout/cycle4"/>
    <dgm:cxn modelId="{49B57D5C-A5FF-4D23-9CF2-5C4B0A2F8EF5}" type="presOf" srcId="{01144811-3E6A-4B10-9D28-C2C94578B690}" destId="{B4C96BEC-98F9-4EC5-AC0B-14E5BD424531}" srcOrd="0" destOrd="1" presId="urn:microsoft.com/office/officeart/2005/8/layout/cycle4"/>
    <dgm:cxn modelId="{C6B91D5D-2F02-4486-AE39-C44EEC75DAC4}" type="presOf" srcId="{3E852CB3-B9A0-47C4-B2D3-60883BCA1CA1}" destId="{F880890C-E0DB-4561-89DF-2CC0FF9360F6}" srcOrd="1" destOrd="0" presId="urn:microsoft.com/office/officeart/2005/8/layout/cycle4"/>
    <dgm:cxn modelId="{3CEDB05E-A443-4B05-9DF3-C0F42D5EDC76}" type="presOf" srcId="{C03B12CA-C127-4A9D-B567-EBA22F854EF2}" destId="{2FE30161-5C60-466C-9BF5-CEFA31F54EA4}" srcOrd="0" destOrd="2" presId="urn:microsoft.com/office/officeart/2005/8/layout/cycle4"/>
    <dgm:cxn modelId="{9E9AA05F-1AE7-427C-9081-FB058A3450EF}" srcId="{D851D966-4FFE-4248-A9C1-6453E25ADC83}" destId="{0929002E-3CFB-46F1-9DED-701E6BDDBBE5}" srcOrd="0" destOrd="0" parTransId="{AD8E2242-6023-4FA1-A34B-BE65322F502E}" sibTransId="{0D4F85F6-A19F-4209-A6A7-43F65AB97D31}"/>
    <dgm:cxn modelId="{DEDDF041-E200-4C34-833F-58439D2B837F}" srcId="{E4B4F9F4-D240-4EF9-8A3E-0060574F32FE}" destId="{C0B3F148-D3AB-4DE9-8484-36EFA907849C}" srcOrd="1" destOrd="0" parTransId="{CD72EACC-C299-4AEC-8B2F-673F67F78823}" sibTransId="{98EC97FF-47A0-4996-A0CE-CE0686EDB039}"/>
    <dgm:cxn modelId="{77D51667-E4BE-4C05-BBC2-001B239831BB}" type="presOf" srcId="{C0B3F148-D3AB-4DE9-8484-36EFA907849C}" destId="{C29649C1-A21A-4DA3-B338-7BCE30F32902}" srcOrd="0" destOrd="1" presId="urn:microsoft.com/office/officeart/2005/8/layout/cycle4"/>
    <dgm:cxn modelId="{D00FD767-3F81-4DF4-AC2F-161C7620830B}" type="presOf" srcId="{5E316323-377A-46B8-A4D4-E479C1061327}" destId="{075A8DE5-85A6-4DDB-8683-6AC871D00272}" srcOrd="0" destOrd="0" presId="urn:microsoft.com/office/officeart/2005/8/layout/cycle4"/>
    <dgm:cxn modelId="{EB66D449-7199-4143-B1FC-6E311CC463E1}" type="presOf" srcId="{7C3C2334-FDB1-45ED-9ED0-89F3C19363D6}" destId="{2FE30161-5C60-466C-9BF5-CEFA31F54EA4}" srcOrd="0" destOrd="1" presId="urn:microsoft.com/office/officeart/2005/8/layout/cycle4"/>
    <dgm:cxn modelId="{77E50D6C-6018-4AA1-8160-17809E98F736}" type="presOf" srcId="{C0B3F148-D3AB-4DE9-8484-36EFA907849C}" destId="{3296EC63-F60C-416C-A940-CC7B10F00735}" srcOrd="1" destOrd="1" presId="urn:microsoft.com/office/officeart/2005/8/layout/cycle4"/>
    <dgm:cxn modelId="{AEEF4773-4E57-4AB2-9B98-C87F214302E4}" type="presOf" srcId="{360B8BA3-9BEE-40EC-9021-F57BFDFD9DE8}" destId="{B4C96BEC-98F9-4EC5-AC0B-14E5BD424531}" srcOrd="0" destOrd="0" presId="urn:microsoft.com/office/officeart/2005/8/layout/cycle4"/>
    <dgm:cxn modelId="{88BA1856-43D6-4E0F-82A9-28F977ABF6E3}" type="presOf" srcId="{8799AD75-C80E-4271-93C2-34DA1D23ED4F}" destId="{88A41F62-FAE9-43B9-9163-89540FD6DEC1}" srcOrd="0" destOrd="1" presId="urn:microsoft.com/office/officeart/2005/8/layout/cycle4"/>
    <dgm:cxn modelId="{185B4058-5DD3-4244-B8F2-0806394C2487}" type="presOf" srcId="{3E852CB3-B9A0-47C4-B2D3-60883BCA1CA1}" destId="{88A41F62-FAE9-43B9-9163-89540FD6DEC1}" srcOrd="0" destOrd="0" presId="urn:microsoft.com/office/officeart/2005/8/layout/cycle4"/>
    <dgm:cxn modelId="{BD1C4158-62EB-4491-844D-D8FB0A4F6F71}" type="presOf" srcId="{7C3C2334-FDB1-45ED-9ED0-89F3C19363D6}" destId="{0490E39C-4561-4FD8-A041-E2CE221E0201}" srcOrd="1" destOrd="1" presId="urn:microsoft.com/office/officeart/2005/8/layout/cycle4"/>
    <dgm:cxn modelId="{EE4E087D-975B-41C6-B8F5-F94608338B92}" type="presOf" srcId="{807A796C-59CA-4B47-B41B-40C215B37FB1}" destId="{B4C96BEC-98F9-4EC5-AC0B-14E5BD424531}" srcOrd="0" destOrd="3" presId="urn:microsoft.com/office/officeart/2005/8/layout/cycle4"/>
    <dgm:cxn modelId="{63852A8A-B292-4273-B79D-57753CB8F4E0}" type="presOf" srcId="{8C87F9F4-5C07-4BCA-92AB-A2A5B4F95435}" destId="{A3B16A58-2DDC-4772-A2E5-036D308AB6DA}" srcOrd="0" destOrd="0" presId="urn:microsoft.com/office/officeart/2005/8/layout/cycle4"/>
    <dgm:cxn modelId="{03F1418D-D70E-44E8-B7F6-9C6D431AF345}" type="presOf" srcId="{1485992C-ACF2-43E9-94CE-A2B4DBDF0FED}" destId="{B4C96BEC-98F9-4EC5-AC0B-14E5BD424531}" srcOrd="0" destOrd="2" presId="urn:microsoft.com/office/officeart/2005/8/layout/cycle4"/>
    <dgm:cxn modelId="{8AA9458F-1113-4060-B603-C3A724257806}" srcId="{5E316323-377A-46B8-A4D4-E479C1061327}" destId="{807A796C-59CA-4B47-B41B-40C215B37FB1}" srcOrd="3" destOrd="0" parTransId="{167030ED-EC0B-42C3-8F22-682389369422}" sibTransId="{0E5CD37A-C285-4743-8F96-F96C59D9013D}"/>
    <dgm:cxn modelId="{AA2F7394-5781-4D49-BD1F-B45EF59D4D50}" type="presOf" srcId="{486C129E-19BA-42F5-AD85-4C9625721C2E}" destId="{3296EC63-F60C-416C-A940-CC7B10F00735}" srcOrd="1" destOrd="0" presId="urn:microsoft.com/office/officeart/2005/8/layout/cycle4"/>
    <dgm:cxn modelId="{BF6CEEA7-B79C-49B6-BBCB-C2F35D55C285}" srcId="{8C87F9F4-5C07-4BCA-92AB-A2A5B4F95435}" destId="{3E852CB3-B9A0-47C4-B2D3-60883BCA1CA1}" srcOrd="0" destOrd="0" parTransId="{EDBB7800-6DDB-4558-8FC8-C0BBF127EE1E}" sibTransId="{3E165C50-7E86-4743-8D75-7CCB095E30B2}"/>
    <dgm:cxn modelId="{FEF3D2A9-9069-4029-859D-D68E3229E3A4}" srcId="{5E316323-377A-46B8-A4D4-E479C1061327}" destId="{1485992C-ACF2-43E9-94CE-A2B4DBDF0FED}" srcOrd="2" destOrd="0" parTransId="{A23B9CB8-1FF4-405E-8268-456ABCFA41C5}" sibTransId="{BBFF37DB-83BB-476F-8104-B46484E0080F}"/>
    <dgm:cxn modelId="{8C7301AA-A618-47CB-8AD5-B88DB886D857}" type="presOf" srcId="{C03B12CA-C127-4A9D-B567-EBA22F854EF2}" destId="{0490E39C-4561-4FD8-A041-E2CE221E0201}" srcOrd="1" destOrd="2" presId="urn:microsoft.com/office/officeart/2005/8/layout/cycle4"/>
    <dgm:cxn modelId="{8C1EABAC-5852-45B3-8917-10A0FC30A315}" type="presOf" srcId="{1485992C-ACF2-43E9-94CE-A2B4DBDF0FED}" destId="{2D81F979-A773-416C-BD04-9CD94B0F524A}" srcOrd="1" destOrd="2" presId="urn:microsoft.com/office/officeart/2005/8/layout/cycle4"/>
    <dgm:cxn modelId="{F659BFB7-D9D5-4C7B-8DD5-EB42490C1C74}" srcId="{5E316323-377A-46B8-A4D4-E479C1061327}" destId="{360B8BA3-9BEE-40EC-9021-F57BFDFD9DE8}" srcOrd="0" destOrd="0" parTransId="{9DF11160-0D78-4317-8393-A4EB775A8F07}" sibTransId="{9772E835-DAF3-4BE6-BFB5-21B108368A1E}"/>
    <dgm:cxn modelId="{6AD96DBB-BC61-4CC6-A281-CE508CCA3143}" srcId="{E4B4F9F4-D240-4EF9-8A3E-0060574F32FE}" destId="{486C129E-19BA-42F5-AD85-4C9625721C2E}" srcOrd="0" destOrd="0" parTransId="{DBDF2E7B-215A-4B79-8F34-A839D73F2DE2}" sibTransId="{2518069B-D169-447B-B127-B67FFA8CB6F5}"/>
    <dgm:cxn modelId="{EA01F1BE-F7A3-412C-9F55-B39BC855A8B3}" srcId="{7C456F81-39E8-4A49-BB92-6D9710B9C081}" destId="{E4B4F9F4-D240-4EF9-8A3E-0060574F32FE}" srcOrd="0" destOrd="0" parTransId="{686EE54E-2CC1-4ABF-B221-047AC1ECAA71}" sibTransId="{EC5EB5C7-F1A2-4FE5-A33B-B7B5FE53412C}"/>
    <dgm:cxn modelId="{6B1ED6C1-3B4E-4D3D-8970-FE5CB33934AB}" srcId="{D851D966-4FFE-4248-A9C1-6453E25ADC83}" destId="{7C3C2334-FDB1-45ED-9ED0-89F3C19363D6}" srcOrd="1" destOrd="0" parTransId="{B4FC8E28-1C3B-4D0C-8A6D-516465F47162}" sibTransId="{0D54DF41-42C8-4324-8C49-E27866BFC722}"/>
    <dgm:cxn modelId="{B4543BC5-96BE-4064-8A5A-4FEDB1F2AFEA}" type="presOf" srcId="{01144811-3E6A-4B10-9D28-C2C94578B690}" destId="{2D81F979-A773-416C-BD04-9CD94B0F524A}" srcOrd="1" destOrd="1" presId="urn:microsoft.com/office/officeart/2005/8/layout/cycle4"/>
    <dgm:cxn modelId="{592387CB-F863-4082-AC3B-5CE459961FC7}" srcId="{5E316323-377A-46B8-A4D4-E479C1061327}" destId="{01144811-3E6A-4B10-9D28-C2C94578B690}" srcOrd="1" destOrd="0" parTransId="{167D2452-361D-4D97-84E5-9F38CACAD73B}" sibTransId="{4A2F5A53-F115-4B26-96B4-1C6FDDD0F286}"/>
    <dgm:cxn modelId="{2537BCD4-CC54-4193-B12B-37BBB1C8B0DB}" type="presOf" srcId="{7C456F81-39E8-4A49-BB92-6D9710B9C081}" destId="{BDE4CEE4-C47C-45EC-81AD-A1BC60FDF352}" srcOrd="0" destOrd="0" presId="urn:microsoft.com/office/officeart/2005/8/layout/cycle4"/>
    <dgm:cxn modelId="{07C483D8-56AD-4E28-A956-C6F0B66FA071}" type="presOf" srcId="{D851D966-4FFE-4248-A9C1-6453E25ADC83}" destId="{59459A3E-2B79-4498-9275-243D04AC410B}" srcOrd="0" destOrd="0" presId="urn:microsoft.com/office/officeart/2005/8/layout/cycle4"/>
    <dgm:cxn modelId="{2E5E16E2-4085-4B1D-8261-70A3BEFBE6A5}" type="presOf" srcId="{360B8BA3-9BEE-40EC-9021-F57BFDFD9DE8}" destId="{2D81F979-A773-416C-BD04-9CD94B0F524A}" srcOrd="1" destOrd="0" presId="urn:microsoft.com/office/officeart/2005/8/layout/cycle4"/>
    <dgm:cxn modelId="{A942A1E9-8B79-4026-AED5-0E36C4274B83}" srcId="{D851D966-4FFE-4248-A9C1-6453E25ADC83}" destId="{C03B12CA-C127-4A9D-B567-EBA22F854EF2}" srcOrd="2" destOrd="0" parTransId="{223AE657-B547-42D2-BCC0-100382CA802D}" sibTransId="{9EA55493-7F84-4ED3-AF96-676ED6F03F79}"/>
    <dgm:cxn modelId="{E5B183FA-F359-4FF2-B8BF-35CAE6F71480}" srcId="{7C456F81-39E8-4A49-BB92-6D9710B9C081}" destId="{5E316323-377A-46B8-A4D4-E479C1061327}" srcOrd="3" destOrd="0" parTransId="{5C5C39FD-74EE-486F-890E-28A1DAAF0B24}" sibTransId="{ECFC408D-DF0A-4D67-9B15-5D6A7CD7F7C3}"/>
    <dgm:cxn modelId="{2C2442FC-8EC2-427B-B621-EF64B6225861}" type="presOf" srcId="{E4B4F9F4-D240-4EF9-8A3E-0060574F32FE}" destId="{048FFB3B-5C29-49EB-AAB3-FDFCE6B26557}" srcOrd="0" destOrd="0" presId="urn:microsoft.com/office/officeart/2005/8/layout/cycle4"/>
    <dgm:cxn modelId="{53AC71FF-BF0D-4B49-B665-44186FEB4678}" type="presOf" srcId="{486C129E-19BA-42F5-AD85-4C9625721C2E}" destId="{C29649C1-A21A-4DA3-B338-7BCE30F32902}" srcOrd="0" destOrd="0" presId="urn:microsoft.com/office/officeart/2005/8/layout/cycle4"/>
    <dgm:cxn modelId="{1E3BDFB4-CE6B-48BC-AED5-3D33C908E606}" type="presParOf" srcId="{BDE4CEE4-C47C-45EC-81AD-A1BC60FDF352}" destId="{62491048-5F76-467B-AE99-5133D1177474}" srcOrd="0" destOrd="0" presId="urn:microsoft.com/office/officeart/2005/8/layout/cycle4"/>
    <dgm:cxn modelId="{37F9415F-C6D5-44A5-81A0-3E6FF1395ABF}" type="presParOf" srcId="{62491048-5F76-467B-AE99-5133D1177474}" destId="{6E853767-6E31-4444-AF02-7B2CBE101B8E}" srcOrd="0" destOrd="0" presId="urn:microsoft.com/office/officeart/2005/8/layout/cycle4"/>
    <dgm:cxn modelId="{9ED81D2A-1C3E-417B-A7B6-C1F91415EE9A}" type="presParOf" srcId="{6E853767-6E31-4444-AF02-7B2CBE101B8E}" destId="{C29649C1-A21A-4DA3-B338-7BCE30F32902}" srcOrd="0" destOrd="0" presId="urn:microsoft.com/office/officeart/2005/8/layout/cycle4"/>
    <dgm:cxn modelId="{5CE1AC24-FFDA-4ECB-9CB6-BB6126DB53DC}" type="presParOf" srcId="{6E853767-6E31-4444-AF02-7B2CBE101B8E}" destId="{3296EC63-F60C-416C-A940-CC7B10F00735}" srcOrd="1" destOrd="0" presId="urn:microsoft.com/office/officeart/2005/8/layout/cycle4"/>
    <dgm:cxn modelId="{EA7EFA47-7981-4224-8B86-452332F24C13}" type="presParOf" srcId="{62491048-5F76-467B-AE99-5133D1177474}" destId="{8303CC75-F15F-4FEE-ACBD-EA591A19E76D}" srcOrd="1" destOrd="0" presId="urn:microsoft.com/office/officeart/2005/8/layout/cycle4"/>
    <dgm:cxn modelId="{989817EA-FC9B-4958-917A-81778207712F}" type="presParOf" srcId="{8303CC75-F15F-4FEE-ACBD-EA591A19E76D}" destId="{2FE30161-5C60-466C-9BF5-CEFA31F54EA4}" srcOrd="0" destOrd="0" presId="urn:microsoft.com/office/officeart/2005/8/layout/cycle4"/>
    <dgm:cxn modelId="{E6B55021-C1CC-4B43-BF4C-63A304307B39}" type="presParOf" srcId="{8303CC75-F15F-4FEE-ACBD-EA591A19E76D}" destId="{0490E39C-4561-4FD8-A041-E2CE221E0201}" srcOrd="1" destOrd="0" presId="urn:microsoft.com/office/officeart/2005/8/layout/cycle4"/>
    <dgm:cxn modelId="{D9ACF86A-97FF-4334-BBC2-D3A71436FDDF}" type="presParOf" srcId="{62491048-5F76-467B-AE99-5133D1177474}" destId="{54800330-ABE4-45B8-A995-4267527DC675}" srcOrd="2" destOrd="0" presId="urn:microsoft.com/office/officeart/2005/8/layout/cycle4"/>
    <dgm:cxn modelId="{3E97A0D5-AABB-4CA4-BB37-D48658DB867F}" type="presParOf" srcId="{54800330-ABE4-45B8-A995-4267527DC675}" destId="{88A41F62-FAE9-43B9-9163-89540FD6DEC1}" srcOrd="0" destOrd="0" presId="urn:microsoft.com/office/officeart/2005/8/layout/cycle4"/>
    <dgm:cxn modelId="{1B6C8625-BCA9-4C9A-82E7-D4AFAA969454}" type="presParOf" srcId="{54800330-ABE4-45B8-A995-4267527DC675}" destId="{F880890C-E0DB-4561-89DF-2CC0FF9360F6}" srcOrd="1" destOrd="0" presId="urn:microsoft.com/office/officeart/2005/8/layout/cycle4"/>
    <dgm:cxn modelId="{4872445E-35F6-4A6E-8102-B4BEB09C5CE8}" type="presParOf" srcId="{62491048-5F76-467B-AE99-5133D1177474}" destId="{77607CE4-FF30-4062-968C-144ED4541439}" srcOrd="3" destOrd="0" presId="urn:microsoft.com/office/officeart/2005/8/layout/cycle4"/>
    <dgm:cxn modelId="{8A8C1B51-262B-4139-9589-11E52B876D82}" type="presParOf" srcId="{77607CE4-FF30-4062-968C-144ED4541439}" destId="{B4C96BEC-98F9-4EC5-AC0B-14E5BD424531}" srcOrd="0" destOrd="0" presId="urn:microsoft.com/office/officeart/2005/8/layout/cycle4"/>
    <dgm:cxn modelId="{E7F88C36-F776-45F9-A20A-A8134C77B8AA}" type="presParOf" srcId="{77607CE4-FF30-4062-968C-144ED4541439}" destId="{2D81F979-A773-416C-BD04-9CD94B0F524A}" srcOrd="1" destOrd="0" presId="urn:microsoft.com/office/officeart/2005/8/layout/cycle4"/>
    <dgm:cxn modelId="{BA4CA42B-F2C9-42EB-9C06-51378B7B2F8F}" type="presParOf" srcId="{62491048-5F76-467B-AE99-5133D1177474}" destId="{FDE757A6-8470-4F81-B7A1-D7B39E4E607E}" srcOrd="4" destOrd="0" presId="urn:microsoft.com/office/officeart/2005/8/layout/cycle4"/>
    <dgm:cxn modelId="{286B35D7-71B6-47B9-9AC1-F3AB1321BC3D}" type="presParOf" srcId="{BDE4CEE4-C47C-45EC-81AD-A1BC60FDF352}" destId="{384C7EE9-0388-4DA1-BD85-966B9DA5D161}" srcOrd="1" destOrd="0" presId="urn:microsoft.com/office/officeart/2005/8/layout/cycle4"/>
    <dgm:cxn modelId="{CAA6091D-25CE-4293-9EFD-CAC9FC0E1A1D}" type="presParOf" srcId="{384C7EE9-0388-4DA1-BD85-966B9DA5D161}" destId="{048FFB3B-5C29-49EB-AAB3-FDFCE6B26557}" srcOrd="0" destOrd="0" presId="urn:microsoft.com/office/officeart/2005/8/layout/cycle4"/>
    <dgm:cxn modelId="{98761579-7B9C-4BB1-B6BA-3971EF66368E}" type="presParOf" srcId="{384C7EE9-0388-4DA1-BD85-966B9DA5D161}" destId="{59459A3E-2B79-4498-9275-243D04AC410B}" srcOrd="1" destOrd="0" presId="urn:microsoft.com/office/officeart/2005/8/layout/cycle4"/>
    <dgm:cxn modelId="{6E40A1E4-D147-4F35-B243-12F63E8498C0}" type="presParOf" srcId="{384C7EE9-0388-4DA1-BD85-966B9DA5D161}" destId="{A3B16A58-2DDC-4772-A2E5-036D308AB6DA}" srcOrd="2" destOrd="0" presId="urn:microsoft.com/office/officeart/2005/8/layout/cycle4"/>
    <dgm:cxn modelId="{4E226DF9-61C9-4925-B10D-136FDFF6BF54}" type="presParOf" srcId="{384C7EE9-0388-4DA1-BD85-966B9DA5D161}" destId="{075A8DE5-85A6-4DDB-8683-6AC871D00272}" srcOrd="3" destOrd="0" presId="urn:microsoft.com/office/officeart/2005/8/layout/cycle4"/>
    <dgm:cxn modelId="{8F17C722-CDE4-4D80-952B-4B5B79269950}" type="presParOf" srcId="{384C7EE9-0388-4DA1-BD85-966B9DA5D161}" destId="{C4F9DF83-19E7-4294-9EAB-6E3226948A20}" srcOrd="4" destOrd="0" presId="urn:microsoft.com/office/officeart/2005/8/layout/cycle4"/>
    <dgm:cxn modelId="{87FF2E35-1BB5-4A03-BE67-C7DAA8BF92AC}" type="presParOf" srcId="{BDE4CEE4-C47C-45EC-81AD-A1BC60FDF352}" destId="{2934D2CC-D2D2-4613-8CAD-C85CD795A0B6}" srcOrd="2" destOrd="0" presId="urn:microsoft.com/office/officeart/2005/8/layout/cycle4"/>
    <dgm:cxn modelId="{BCA5A62C-2AB6-458D-B18A-313CD26C0BC5}" type="presParOf" srcId="{BDE4CEE4-C47C-45EC-81AD-A1BC60FDF352}" destId="{9212ADAD-FAEF-411D-AFA9-FF42E3FF5D3C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25CBCF-AA90-4774-8082-B7AC56D930C9}">
      <dsp:nvSpPr>
        <dsp:cNvPr id="0" name=""/>
        <dsp:cNvSpPr/>
      </dsp:nvSpPr>
      <dsp:spPr>
        <a:xfrm>
          <a:off x="14109656" y="2341991"/>
          <a:ext cx="289189" cy="36245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24504"/>
              </a:lnTo>
              <a:lnTo>
                <a:pt x="289189" y="362450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772F9A-23A0-4C4D-8AD6-E7024D32B5BA}">
      <dsp:nvSpPr>
        <dsp:cNvPr id="0" name=""/>
        <dsp:cNvSpPr/>
      </dsp:nvSpPr>
      <dsp:spPr>
        <a:xfrm>
          <a:off x="14109656" y="2341991"/>
          <a:ext cx="289189" cy="22556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55675"/>
              </a:lnTo>
              <a:lnTo>
                <a:pt x="289189" y="22556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C4BB8C-F6D0-4F87-B18F-75C017829760}">
      <dsp:nvSpPr>
        <dsp:cNvPr id="0" name=""/>
        <dsp:cNvSpPr/>
      </dsp:nvSpPr>
      <dsp:spPr>
        <a:xfrm>
          <a:off x="14109656" y="2341991"/>
          <a:ext cx="289189" cy="8868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6846"/>
              </a:lnTo>
              <a:lnTo>
                <a:pt x="289189" y="88684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EFA9A1-6CA6-4941-8A47-8DE384814D70}">
      <dsp:nvSpPr>
        <dsp:cNvPr id="0" name=""/>
        <dsp:cNvSpPr/>
      </dsp:nvSpPr>
      <dsp:spPr>
        <a:xfrm>
          <a:off x="11381638" y="973163"/>
          <a:ext cx="3499189" cy="404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432"/>
              </a:lnTo>
              <a:lnTo>
                <a:pt x="3499189" y="202432"/>
              </a:lnTo>
              <a:lnTo>
                <a:pt x="3499189" y="40486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1D8C3D-5FDF-415B-A981-FE5657918B8F}">
      <dsp:nvSpPr>
        <dsp:cNvPr id="0" name=""/>
        <dsp:cNvSpPr/>
      </dsp:nvSpPr>
      <dsp:spPr>
        <a:xfrm>
          <a:off x="11776864" y="2341991"/>
          <a:ext cx="289189" cy="36245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24504"/>
              </a:lnTo>
              <a:lnTo>
                <a:pt x="289189" y="362450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22FF0C-AF4D-4C6A-83F8-6D8F9370D588}">
      <dsp:nvSpPr>
        <dsp:cNvPr id="0" name=""/>
        <dsp:cNvSpPr/>
      </dsp:nvSpPr>
      <dsp:spPr>
        <a:xfrm>
          <a:off x="11776864" y="2341991"/>
          <a:ext cx="289189" cy="22556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55675"/>
              </a:lnTo>
              <a:lnTo>
                <a:pt x="289189" y="22556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5492E5-E487-4FCC-A027-2CD6D00682E2}">
      <dsp:nvSpPr>
        <dsp:cNvPr id="0" name=""/>
        <dsp:cNvSpPr/>
      </dsp:nvSpPr>
      <dsp:spPr>
        <a:xfrm>
          <a:off x="11776864" y="2341991"/>
          <a:ext cx="289189" cy="8868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6846"/>
              </a:lnTo>
              <a:lnTo>
                <a:pt x="289189" y="88684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5D9233-E922-480E-A546-C8C0865DBB32}">
      <dsp:nvSpPr>
        <dsp:cNvPr id="0" name=""/>
        <dsp:cNvSpPr/>
      </dsp:nvSpPr>
      <dsp:spPr>
        <a:xfrm>
          <a:off x="11381638" y="973163"/>
          <a:ext cx="1166396" cy="404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432"/>
              </a:lnTo>
              <a:lnTo>
                <a:pt x="1166396" y="202432"/>
              </a:lnTo>
              <a:lnTo>
                <a:pt x="1166396" y="40486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A1C1DE5-05F0-4A34-99C9-E164D25BCBA1}">
      <dsp:nvSpPr>
        <dsp:cNvPr id="0" name=""/>
        <dsp:cNvSpPr/>
      </dsp:nvSpPr>
      <dsp:spPr>
        <a:xfrm>
          <a:off x="9444071" y="2341991"/>
          <a:ext cx="289189" cy="104686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468648"/>
              </a:lnTo>
              <a:lnTo>
                <a:pt x="289189" y="104686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9C6095-E691-418B-B746-91B0AF7A2B03}">
      <dsp:nvSpPr>
        <dsp:cNvPr id="0" name=""/>
        <dsp:cNvSpPr/>
      </dsp:nvSpPr>
      <dsp:spPr>
        <a:xfrm>
          <a:off x="9444071" y="2341991"/>
          <a:ext cx="289189" cy="90998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099819"/>
              </a:lnTo>
              <a:lnTo>
                <a:pt x="289189" y="90998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26E419-F17E-4A9E-9064-C383D5C7FB4E}">
      <dsp:nvSpPr>
        <dsp:cNvPr id="0" name=""/>
        <dsp:cNvSpPr/>
      </dsp:nvSpPr>
      <dsp:spPr>
        <a:xfrm>
          <a:off x="9444071" y="2341991"/>
          <a:ext cx="289189" cy="77309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30990"/>
              </a:lnTo>
              <a:lnTo>
                <a:pt x="289189" y="773099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9CEBCB-3E07-4D52-B4A4-6B8EBED17822}">
      <dsp:nvSpPr>
        <dsp:cNvPr id="0" name=""/>
        <dsp:cNvSpPr/>
      </dsp:nvSpPr>
      <dsp:spPr>
        <a:xfrm>
          <a:off x="9444071" y="2341991"/>
          <a:ext cx="289189" cy="63621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62161"/>
              </a:lnTo>
              <a:lnTo>
                <a:pt x="289189" y="636216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E8509D-D200-4AD2-9176-BA1C925FA3FE}">
      <dsp:nvSpPr>
        <dsp:cNvPr id="0" name=""/>
        <dsp:cNvSpPr/>
      </dsp:nvSpPr>
      <dsp:spPr>
        <a:xfrm>
          <a:off x="9444071" y="2341991"/>
          <a:ext cx="289189" cy="49933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93333"/>
              </a:lnTo>
              <a:lnTo>
                <a:pt x="289189" y="499333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2F2DA1-4B04-4F3B-896F-155C25AF0DC8}">
      <dsp:nvSpPr>
        <dsp:cNvPr id="0" name=""/>
        <dsp:cNvSpPr/>
      </dsp:nvSpPr>
      <dsp:spPr>
        <a:xfrm>
          <a:off x="9444071" y="2341991"/>
          <a:ext cx="289189" cy="36245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24504"/>
              </a:lnTo>
              <a:lnTo>
                <a:pt x="289189" y="362450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9EEDA8-9567-42CC-9112-111738129BE7}">
      <dsp:nvSpPr>
        <dsp:cNvPr id="0" name=""/>
        <dsp:cNvSpPr/>
      </dsp:nvSpPr>
      <dsp:spPr>
        <a:xfrm>
          <a:off x="9444071" y="2341991"/>
          <a:ext cx="289189" cy="22556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55675"/>
              </a:lnTo>
              <a:lnTo>
                <a:pt x="289189" y="22556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03216B-8D19-4F7D-B157-A8C9FEF99D65}">
      <dsp:nvSpPr>
        <dsp:cNvPr id="0" name=""/>
        <dsp:cNvSpPr/>
      </dsp:nvSpPr>
      <dsp:spPr>
        <a:xfrm>
          <a:off x="9444071" y="2341991"/>
          <a:ext cx="289189" cy="8868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6846"/>
              </a:lnTo>
              <a:lnTo>
                <a:pt x="289189" y="88684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9DC523-A0FB-4625-8353-E7BE586ED17F}">
      <dsp:nvSpPr>
        <dsp:cNvPr id="0" name=""/>
        <dsp:cNvSpPr/>
      </dsp:nvSpPr>
      <dsp:spPr>
        <a:xfrm>
          <a:off x="10215242" y="973163"/>
          <a:ext cx="1166396" cy="404864"/>
        </a:xfrm>
        <a:custGeom>
          <a:avLst/>
          <a:gdLst/>
          <a:ahLst/>
          <a:cxnLst/>
          <a:rect l="0" t="0" r="0" b="0"/>
          <a:pathLst>
            <a:path>
              <a:moveTo>
                <a:pt x="1166396" y="0"/>
              </a:moveTo>
              <a:lnTo>
                <a:pt x="1166396" y="202432"/>
              </a:lnTo>
              <a:lnTo>
                <a:pt x="0" y="202432"/>
              </a:lnTo>
              <a:lnTo>
                <a:pt x="0" y="40486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14F16D-D16E-4658-9C0A-9D2A247A5CEC}">
      <dsp:nvSpPr>
        <dsp:cNvPr id="0" name=""/>
        <dsp:cNvSpPr/>
      </dsp:nvSpPr>
      <dsp:spPr>
        <a:xfrm>
          <a:off x="7111278" y="2341991"/>
          <a:ext cx="289189" cy="104686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468648"/>
              </a:lnTo>
              <a:lnTo>
                <a:pt x="289189" y="104686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44C781-567E-44BC-BAB9-8536F6BDB1C7}">
      <dsp:nvSpPr>
        <dsp:cNvPr id="0" name=""/>
        <dsp:cNvSpPr/>
      </dsp:nvSpPr>
      <dsp:spPr>
        <a:xfrm>
          <a:off x="7111278" y="2341991"/>
          <a:ext cx="289189" cy="90998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099819"/>
              </a:lnTo>
              <a:lnTo>
                <a:pt x="289189" y="90998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0B4CBD-9A62-4CC3-9FC0-CED86B798149}">
      <dsp:nvSpPr>
        <dsp:cNvPr id="0" name=""/>
        <dsp:cNvSpPr/>
      </dsp:nvSpPr>
      <dsp:spPr>
        <a:xfrm>
          <a:off x="7111278" y="2341991"/>
          <a:ext cx="289189" cy="77309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30990"/>
              </a:lnTo>
              <a:lnTo>
                <a:pt x="289189" y="773099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4FFE2-EDD1-4356-B1F6-B51EABFEF803}">
      <dsp:nvSpPr>
        <dsp:cNvPr id="0" name=""/>
        <dsp:cNvSpPr/>
      </dsp:nvSpPr>
      <dsp:spPr>
        <a:xfrm>
          <a:off x="7111278" y="2341991"/>
          <a:ext cx="289189" cy="63621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62161"/>
              </a:lnTo>
              <a:lnTo>
                <a:pt x="289189" y="636216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04AD31-352A-44F8-A295-429A89BCAB11}">
      <dsp:nvSpPr>
        <dsp:cNvPr id="0" name=""/>
        <dsp:cNvSpPr/>
      </dsp:nvSpPr>
      <dsp:spPr>
        <a:xfrm>
          <a:off x="7111278" y="2341991"/>
          <a:ext cx="289189" cy="49933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93333"/>
              </a:lnTo>
              <a:lnTo>
                <a:pt x="289189" y="499333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3CCA32-FA4D-4D50-BB97-3CAF5E5A4889}">
      <dsp:nvSpPr>
        <dsp:cNvPr id="0" name=""/>
        <dsp:cNvSpPr/>
      </dsp:nvSpPr>
      <dsp:spPr>
        <a:xfrm>
          <a:off x="7111278" y="2341991"/>
          <a:ext cx="289189" cy="36245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24504"/>
              </a:lnTo>
              <a:lnTo>
                <a:pt x="289189" y="362450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DAD112-6EE8-4EDB-9ECE-11C0741097FC}">
      <dsp:nvSpPr>
        <dsp:cNvPr id="0" name=""/>
        <dsp:cNvSpPr/>
      </dsp:nvSpPr>
      <dsp:spPr>
        <a:xfrm>
          <a:off x="7111278" y="2341991"/>
          <a:ext cx="289189" cy="22556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55675"/>
              </a:lnTo>
              <a:lnTo>
                <a:pt x="289189" y="22556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535D29-0E21-42FC-AB08-343B963AE611}">
      <dsp:nvSpPr>
        <dsp:cNvPr id="0" name=""/>
        <dsp:cNvSpPr/>
      </dsp:nvSpPr>
      <dsp:spPr>
        <a:xfrm>
          <a:off x="7111278" y="2341991"/>
          <a:ext cx="289189" cy="8868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86846"/>
              </a:lnTo>
              <a:lnTo>
                <a:pt x="289189" y="88684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707A64-0BF8-4865-8496-3A37C893985E}">
      <dsp:nvSpPr>
        <dsp:cNvPr id="0" name=""/>
        <dsp:cNvSpPr/>
      </dsp:nvSpPr>
      <dsp:spPr>
        <a:xfrm>
          <a:off x="7882449" y="973163"/>
          <a:ext cx="3499189" cy="404864"/>
        </a:xfrm>
        <a:custGeom>
          <a:avLst/>
          <a:gdLst/>
          <a:ahLst/>
          <a:cxnLst/>
          <a:rect l="0" t="0" r="0" b="0"/>
          <a:pathLst>
            <a:path>
              <a:moveTo>
                <a:pt x="3499189" y="0"/>
              </a:moveTo>
              <a:lnTo>
                <a:pt x="3499189" y="202432"/>
              </a:lnTo>
              <a:lnTo>
                <a:pt x="0" y="202432"/>
              </a:lnTo>
              <a:lnTo>
                <a:pt x="0" y="40486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6E8638-6B43-4626-B2BC-6439D5CB6903}">
      <dsp:nvSpPr>
        <dsp:cNvPr id="0" name=""/>
        <dsp:cNvSpPr/>
      </dsp:nvSpPr>
      <dsp:spPr>
        <a:xfrm>
          <a:off x="10417674" y="9199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Proyectos y Consultoría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Carlos Vera  </a:t>
          </a:r>
        </a:p>
      </dsp:txBody>
      <dsp:txXfrm>
        <a:off x="10417674" y="9199"/>
        <a:ext cx="1927927" cy="963963"/>
      </dsp:txXfrm>
    </dsp:sp>
    <dsp:sp modelId="{C0FF33DF-CA61-43D8-9567-8947149FFC4D}">
      <dsp:nvSpPr>
        <dsp:cNvPr id="0" name=""/>
        <dsp:cNvSpPr/>
      </dsp:nvSpPr>
      <dsp:spPr>
        <a:xfrm>
          <a:off x="6918485" y="1378027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DS&amp;O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LUIS VASQUEZ</a:t>
          </a:r>
        </a:p>
      </dsp:txBody>
      <dsp:txXfrm>
        <a:off x="6918485" y="1378027"/>
        <a:ext cx="1927927" cy="963963"/>
      </dsp:txXfrm>
    </dsp:sp>
    <dsp:sp modelId="{80165183-E835-40B7-98A6-B222C4B774CE}">
      <dsp:nvSpPr>
        <dsp:cNvPr id="0" name=""/>
        <dsp:cNvSpPr/>
      </dsp:nvSpPr>
      <dsp:spPr>
        <a:xfrm>
          <a:off x="7400467" y="2746856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/>
            <a:t>Emely Ambrosio</a:t>
          </a:r>
        </a:p>
      </dsp:txBody>
      <dsp:txXfrm>
        <a:off x="7400467" y="2746856"/>
        <a:ext cx="1927927" cy="963963"/>
      </dsp:txXfrm>
    </dsp:sp>
    <dsp:sp modelId="{4D2A5E80-A074-4010-9B20-BF4F65F2058D}">
      <dsp:nvSpPr>
        <dsp:cNvPr id="0" name=""/>
        <dsp:cNvSpPr/>
      </dsp:nvSpPr>
      <dsp:spPr>
        <a:xfrm>
          <a:off x="7400467" y="4115685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Jesus Salgado</a:t>
          </a:r>
        </a:p>
      </dsp:txBody>
      <dsp:txXfrm>
        <a:off x="7400467" y="4115685"/>
        <a:ext cx="1927927" cy="963963"/>
      </dsp:txXfrm>
    </dsp:sp>
    <dsp:sp modelId="{19F09E86-F0DE-4C4A-972F-B66FAD4CC4D9}">
      <dsp:nvSpPr>
        <dsp:cNvPr id="0" name=""/>
        <dsp:cNvSpPr/>
      </dsp:nvSpPr>
      <dsp:spPr>
        <a:xfrm>
          <a:off x="7400467" y="5484514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 err="1"/>
            <a:t>Geancarlo</a:t>
          </a:r>
          <a:r>
            <a:rPr lang="es-PE" sz="1400" b="1" kern="1200" dirty="0"/>
            <a:t> Silvestre</a:t>
          </a:r>
        </a:p>
      </dsp:txBody>
      <dsp:txXfrm>
        <a:off x="7400467" y="5484514"/>
        <a:ext cx="1927927" cy="963963"/>
      </dsp:txXfrm>
    </dsp:sp>
    <dsp:sp modelId="{443F4F1D-9945-4AE0-9AD3-A7136D025838}">
      <dsp:nvSpPr>
        <dsp:cNvPr id="0" name=""/>
        <dsp:cNvSpPr/>
      </dsp:nvSpPr>
      <dsp:spPr>
        <a:xfrm>
          <a:off x="7400467" y="6853342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Walter Sosa</a:t>
          </a:r>
        </a:p>
      </dsp:txBody>
      <dsp:txXfrm>
        <a:off x="7400467" y="6853342"/>
        <a:ext cx="1927927" cy="963963"/>
      </dsp:txXfrm>
    </dsp:sp>
    <dsp:sp modelId="{7B02EBED-9903-4F58-9317-86CEF8CC4CF2}">
      <dsp:nvSpPr>
        <dsp:cNvPr id="0" name=""/>
        <dsp:cNvSpPr/>
      </dsp:nvSpPr>
      <dsp:spPr>
        <a:xfrm>
          <a:off x="7400467" y="8222171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Ariana Vasquez</a:t>
          </a:r>
        </a:p>
      </dsp:txBody>
      <dsp:txXfrm>
        <a:off x="7400467" y="8222171"/>
        <a:ext cx="1927927" cy="963963"/>
      </dsp:txXfrm>
    </dsp:sp>
    <dsp:sp modelId="{0759E7C1-FD3B-4E2F-8000-FB1BCCDF85E1}">
      <dsp:nvSpPr>
        <dsp:cNvPr id="0" name=""/>
        <dsp:cNvSpPr/>
      </dsp:nvSpPr>
      <dsp:spPr>
        <a:xfrm>
          <a:off x="7400467" y="9591000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Said</a:t>
          </a:r>
        </a:p>
      </dsp:txBody>
      <dsp:txXfrm>
        <a:off x="7400467" y="9591000"/>
        <a:ext cx="1927927" cy="963963"/>
      </dsp:txXfrm>
    </dsp:sp>
    <dsp:sp modelId="{A72C8DE6-A6EB-42A1-AAB2-C7A5552D29F0}">
      <dsp:nvSpPr>
        <dsp:cNvPr id="0" name=""/>
        <dsp:cNvSpPr/>
      </dsp:nvSpPr>
      <dsp:spPr>
        <a:xfrm>
          <a:off x="7400467" y="10959829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Saidy</a:t>
          </a:r>
        </a:p>
      </dsp:txBody>
      <dsp:txXfrm>
        <a:off x="7400467" y="10959829"/>
        <a:ext cx="1927927" cy="963963"/>
      </dsp:txXfrm>
    </dsp:sp>
    <dsp:sp modelId="{919EC09E-513E-4304-BCC8-711A5FE6DBD0}">
      <dsp:nvSpPr>
        <dsp:cNvPr id="0" name=""/>
        <dsp:cNvSpPr/>
      </dsp:nvSpPr>
      <dsp:spPr>
        <a:xfrm>
          <a:off x="7400467" y="12328657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Ivan</a:t>
          </a:r>
        </a:p>
      </dsp:txBody>
      <dsp:txXfrm>
        <a:off x="7400467" y="12328657"/>
        <a:ext cx="1927927" cy="963963"/>
      </dsp:txXfrm>
    </dsp:sp>
    <dsp:sp modelId="{0E214E11-E023-42F0-949E-D4B5EE6BF00B}">
      <dsp:nvSpPr>
        <dsp:cNvPr id="0" name=""/>
        <dsp:cNvSpPr/>
      </dsp:nvSpPr>
      <dsp:spPr>
        <a:xfrm>
          <a:off x="9251278" y="1378027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BI &amp; </a:t>
          </a:r>
          <a:r>
            <a:rPr lang="es-PE" sz="1400" b="1" kern="1200" dirty="0" err="1"/>
            <a:t>Analytics</a:t>
          </a:r>
          <a:endParaRPr lang="es-PE" sz="14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SILVESTRE ACOSTA</a:t>
          </a:r>
        </a:p>
      </dsp:txBody>
      <dsp:txXfrm>
        <a:off x="9251278" y="1378027"/>
        <a:ext cx="1927927" cy="963963"/>
      </dsp:txXfrm>
    </dsp:sp>
    <dsp:sp modelId="{04855EF9-FF16-4EFE-927E-96BB0C8C3828}">
      <dsp:nvSpPr>
        <dsp:cNvPr id="0" name=""/>
        <dsp:cNvSpPr/>
      </dsp:nvSpPr>
      <dsp:spPr>
        <a:xfrm>
          <a:off x="9733260" y="2746856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Antonio Tolosa</a:t>
          </a:r>
        </a:p>
      </dsp:txBody>
      <dsp:txXfrm>
        <a:off x="9733260" y="2746856"/>
        <a:ext cx="1927927" cy="963963"/>
      </dsp:txXfrm>
    </dsp:sp>
    <dsp:sp modelId="{45452F55-DA4B-4CF1-B8C9-9D131B82C15F}">
      <dsp:nvSpPr>
        <dsp:cNvPr id="0" name=""/>
        <dsp:cNvSpPr/>
      </dsp:nvSpPr>
      <dsp:spPr>
        <a:xfrm>
          <a:off x="9733260" y="4115685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Giovanni F.</a:t>
          </a:r>
        </a:p>
      </dsp:txBody>
      <dsp:txXfrm>
        <a:off x="9733260" y="4115685"/>
        <a:ext cx="1927927" cy="963963"/>
      </dsp:txXfrm>
    </dsp:sp>
    <dsp:sp modelId="{7AE8ED15-1329-4C7F-868A-5A6EF10B3337}">
      <dsp:nvSpPr>
        <dsp:cNvPr id="0" name=""/>
        <dsp:cNvSpPr/>
      </dsp:nvSpPr>
      <dsp:spPr>
        <a:xfrm>
          <a:off x="9733260" y="5484514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Kennedy Luna</a:t>
          </a:r>
        </a:p>
      </dsp:txBody>
      <dsp:txXfrm>
        <a:off x="9733260" y="5484514"/>
        <a:ext cx="1927927" cy="963963"/>
      </dsp:txXfrm>
    </dsp:sp>
    <dsp:sp modelId="{8EFCE613-0888-43C3-A88B-CA08106F9803}">
      <dsp:nvSpPr>
        <dsp:cNvPr id="0" name=""/>
        <dsp:cNvSpPr/>
      </dsp:nvSpPr>
      <dsp:spPr>
        <a:xfrm>
          <a:off x="9733260" y="6853342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Ruben Campos</a:t>
          </a:r>
        </a:p>
      </dsp:txBody>
      <dsp:txXfrm>
        <a:off x="9733260" y="6853342"/>
        <a:ext cx="1927927" cy="963963"/>
      </dsp:txXfrm>
    </dsp:sp>
    <dsp:sp modelId="{997E4C9A-B4F3-4755-8B1F-D7881B3DF5B8}">
      <dsp:nvSpPr>
        <dsp:cNvPr id="0" name=""/>
        <dsp:cNvSpPr/>
      </dsp:nvSpPr>
      <dsp:spPr>
        <a:xfrm>
          <a:off x="9733260" y="8222171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Leandro Coronel</a:t>
          </a:r>
        </a:p>
      </dsp:txBody>
      <dsp:txXfrm>
        <a:off x="9733260" y="8222171"/>
        <a:ext cx="1927927" cy="963963"/>
      </dsp:txXfrm>
    </dsp:sp>
    <dsp:sp modelId="{7ACDBADC-81D5-42AD-8E9A-0C6426EACE37}">
      <dsp:nvSpPr>
        <dsp:cNvPr id="0" name=""/>
        <dsp:cNvSpPr/>
      </dsp:nvSpPr>
      <dsp:spPr>
        <a:xfrm>
          <a:off x="9733260" y="9591000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Jorge Vento</a:t>
          </a:r>
        </a:p>
      </dsp:txBody>
      <dsp:txXfrm>
        <a:off x="9733260" y="9591000"/>
        <a:ext cx="1927927" cy="963963"/>
      </dsp:txXfrm>
    </dsp:sp>
    <dsp:sp modelId="{83F60BAF-4D3C-4FCB-9CB5-71AD72A8DC2B}">
      <dsp:nvSpPr>
        <dsp:cNvPr id="0" name=""/>
        <dsp:cNvSpPr/>
      </dsp:nvSpPr>
      <dsp:spPr>
        <a:xfrm>
          <a:off x="9733260" y="10959829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Yakori Vallejos</a:t>
          </a:r>
        </a:p>
      </dsp:txBody>
      <dsp:txXfrm>
        <a:off x="9733260" y="10959829"/>
        <a:ext cx="1927927" cy="963963"/>
      </dsp:txXfrm>
    </dsp:sp>
    <dsp:sp modelId="{52D14353-F516-4DF7-926E-8A1F0B1AF587}">
      <dsp:nvSpPr>
        <dsp:cNvPr id="0" name=""/>
        <dsp:cNvSpPr/>
      </dsp:nvSpPr>
      <dsp:spPr>
        <a:xfrm>
          <a:off x="9733260" y="12328657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 err="1"/>
            <a:t>Andres</a:t>
          </a:r>
          <a:r>
            <a:rPr lang="es-PE" sz="1400" b="1" kern="1200" dirty="0"/>
            <a:t> Morales</a:t>
          </a:r>
        </a:p>
      </dsp:txBody>
      <dsp:txXfrm>
        <a:off x="9733260" y="12328657"/>
        <a:ext cx="1927927" cy="963963"/>
      </dsp:txXfrm>
    </dsp:sp>
    <dsp:sp modelId="{C211D1E2-A010-4A2B-86E8-0F02FDA687CB}">
      <dsp:nvSpPr>
        <dsp:cNvPr id="0" name=""/>
        <dsp:cNvSpPr/>
      </dsp:nvSpPr>
      <dsp:spPr>
        <a:xfrm>
          <a:off x="11584071" y="1378027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Funcionales</a:t>
          </a:r>
        </a:p>
      </dsp:txBody>
      <dsp:txXfrm>
        <a:off x="11584071" y="1378027"/>
        <a:ext cx="1927927" cy="963963"/>
      </dsp:txXfrm>
    </dsp:sp>
    <dsp:sp modelId="{4FAFC1BF-9ED1-4A9A-8A38-0142B92A2210}">
      <dsp:nvSpPr>
        <dsp:cNvPr id="0" name=""/>
        <dsp:cNvSpPr/>
      </dsp:nvSpPr>
      <dsp:spPr>
        <a:xfrm>
          <a:off x="12066053" y="2746856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Daniel Vento</a:t>
          </a:r>
        </a:p>
      </dsp:txBody>
      <dsp:txXfrm>
        <a:off x="12066053" y="2746856"/>
        <a:ext cx="1927927" cy="963963"/>
      </dsp:txXfrm>
    </dsp:sp>
    <dsp:sp modelId="{8BD37282-C684-4FF1-96E3-602FA32C039B}">
      <dsp:nvSpPr>
        <dsp:cNvPr id="0" name=""/>
        <dsp:cNvSpPr/>
      </dsp:nvSpPr>
      <dsp:spPr>
        <a:xfrm>
          <a:off x="12066053" y="4115685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Pamela Rivas</a:t>
          </a:r>
        </a:p>
      </dsp:txBody>
      <dsp:txXfrm>
        <a:off x="12066053" y="4115685"/>
        <a:ext cx="1927927" cy="963963"/>
      </dsp:txXfrm>
    </dsp:sp>
    <dsp:sp modelId="{C56D3BAF-B77D-4972-B609-B3A635ED9388}">
      <dsp:nvSpPr>
        <dsp:cNvPr id="0" name=""/>
        <dsp:cNvSpPr/>
      </dsp:nvSpPr>
      <dsp:spPr>
        <a:xfrm>
          <a:off x="12066053" y="5484514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Jhonatan Espinoza</a:t>
          </a:r>
        </a:p>
      </dsp:txBody>
      <dsp:txXfrm>
        <a:off x="12066053" y="5484514"/>
        <a:ext cx="1927927" cy="963963"/>
      </dsp:txXfrm>
    </dsp:sp>
    <dsp:sp modelId="{B3E31A91-F33C-4639-BCEB-413A151701C6}">
      <dsp:nvSpPr>
        <dsp:cNvPr id="0" name=""/>
        <dsp:cNvSpPr/>
      </dsp:nvSpPr>
      <dsp:spPr>
        <a:xfrm>
          <a:off x="13916863" y="1378027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Educa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(Carlos Garcia)</a:t>
          </a:r>
        </a:p>
      </dsp:txBody>
      <dsp:txXfrm>
        <a:off x="13916863" y="1378027"/>
        <a:ext cx="1927927" cy="963963"/>
      </dsp:txXfrm>
    </dsp:sp>
    <dsp:sp modelId="{11FD429F-9BC4-4863-9443-80F2AF89B2A3}">
      <dsp:nvSpPr>
        <dsp:cNvPr id="0" name=""/>
        <dsp:cNvSpPr/>
      </dsp:nvSpPr>
      <dsp:spPr>
        <a:xfrm>
          <a:off x="14398845" y="2746856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Tamara Rodriguez</a:t>
          </a:r>
        </a:p>
      </dsp:txBody>
      <dsp:txXfrm>
        <a:off x="14398845" y="2746856"/>
        <a:ext cx="1927927" cy="963963"/>
      </dsp:txXfrm>
    </dsp:sp>
    <dsp:sp modelId="{92E984C5-60DA-4B4D-A7C7-AF061BF5E9C5}">
      <dsp:nvSpPr>
        <dsp:cNvPr id="0" name=""/>
        <dsp:cNvSpPr/>
      </dsp:nvSpPr>
      <dsp:spPr>
        <a:xfrm>
          <a:off x="14398845" y="4115685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 err="1"/>
            <a:t>Jordan</a:t>
          </a:r>
          <a:r>
            <a:rPr lang="es-PE" sz="1400" b="1" kern="1200" dirty="0"/>
            <a:t> Merino</a:t>
          </a:r>
        </a:p>
      </dsp:txBody>
      <dsp:txXfrm>
        <a:off x="14398845" y="4115685"/>
        <a:ext cx="1927927" cy="963963"/>
      </dsp:txXfrm>
    </dsp:sp>
    <dsp:sp modelId="{107CF6F8-3607-4E5D-A586-77A3B6F2BB7F}">
      <dsp:nvSpPr>
        <dsp:cNvPr id="0" name=""/>
        <dsp:cNvSpPr/>
      </dsp:nvSpPr>
      <dsp:spPr>
        <a:xfrm>
          <a:off x="14398845" y="5484514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 err="1"/>
            <a:t>Miljanic</a:t>
          </a:r>
          <a:endParaRPr lang="es-PE" sz="1400" b="1" kern="1200" dirty="0"/>
        </a:p>
      </dsp:txBody>
      <dsp:txXfrm>
        <a:off x="14398845" y="5484514"/>
        <a:ext cx="1927927" cy="963963"/>
      </dsp:txXfrm>
    </dsp:sp>
    <dsp:sp modelId="{CFE0302D-132A-40F6-9E58-C3DE72F6041B}">
      <dsp:nvSpPr>
        <dsp:cNvPr id="0" name=""/>
        <dsp:cNvSpPr/>
      </dsp:nvSpPr>
      <dsp:spPr>
        <a:xfrm>
          <a:off x="16123897" y="1364599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u="none" kern="1200" dirty="0">
              <a:solidFill>
                <a:schemeClr val="bg1"/>
              </a:solidFill>
            </a:rPr>
            <a:t>Gestión de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u="none" kern="1200" dirty="0">
              <a:solidFill>
                <a:schemeClr val="bg1"/>
              </a:solidFill>
            </a:rPr>
            <a:t> Proyectos</a:t>
          </a:r>
        </a:p>
      </dsp:txBody>
      <dsp:txXfrm>
        <a:off x="16123897" y="1364599"/>
        <a:ext cx="1927927" cy="963963"/>
      </dsp:txXfrm>
    </dsp:sp>
    <dsp:sp modelId="{E0343302-7065-40EA-B702-53B4E4421E7A}">
      <dsp:nvSpPr>
        <dsp:cNvPr id="0" name=""/>
        <dsp:cNvSpPr/>
      </dsp:nvSpPr>
      <dsp:spPr>
        <a:xfrm>
          <a:off x="18456690" y="1364599"/>
          <a:ext cx="1927927" cy="9639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u="none" kern="1200" dirty="0">
              <a:solidFill>
                <a:schemeClr val="bg1"/>
              </a:solidFill>
            </a:rPr>
            <a:t>Control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u="none" kern="1200" dirty="0">
              <a:solidFill>
                <a:schemeClr val="bg1"/>
              </a:solidFill>
            </a:rPr>
            <a:t>de Calidad</a:t>
          </a:r>
        </a:p>
      </dsp:txBody>
      <dsp:txXfrm>
        <a:off x="18456690" y="1364599"/>
        <a:ext cx="1927927" cy="96396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4D0629-8307-48D1-983E-19A89023459E}">
      <dsp:nvSpPr>
        <dsp:cNvPr id="0" name=""/>
        <dsp:cNvSpPr/>
      </dsp:nvSpPr>
      <dsp:spPr>
        <a:xfrm>
          <a:off x="0" y="8414460"/>
          <a:ext cx="19495699" cy="13804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Nuevos Requerimientos</a:t>
          </a:r>
        </a:p>
      </dsp:txBody>
      <dsp:txXfrm>
        <a:off x="0" y="8414460"/>
        <a:ext cx="19495699" cy="745449"/>
      </dsp:txXfrm>
    </dsp:sp>
    <dsp:sp modelId="{DEBFAFF2-398E-4993-B947-F97E616F6405}">
      <dsp:nvSpPr>
        <dsp:cNvPr id="0" name=""/>
        <dsp:cNvSpPr/>
      </dsp:nvSpPr>
      <dsp:spPr>
        <a:xfrm>
          <a:off x="951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cen la Base</a:t>
          </a:r>
        </a:p>
      </dsp:txBody>
      <dsp:txXfrm>
        <a:off x="9519" y="9132300"/>
        <a:ext cx="6492220" cy="635012"/>
      </dsp:txXfrm>
    </dsp:sp>
    <dsp:sp modelId="{635FF771-35C9-4403-A55A-FB31CB316DC3}">
      <dsp:nvSpPr>
        <dsp:cNvPr id="0" name=""/>
        <dsp:cNvSpPr/>
      </dsp:nvSpPr>
      <dsp:spPr>
        <a:xfrm>
          <a:off x="650173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etodología de recojo de datos en campo</a:t>
          </a:r>
        </a:p>
      </dsp:txBody>
      <dsp:txXfrm>
        <a:off x="6501739" y="9132300"/>
        <a:ext cx="6492220" cy="635012"/>
      </dsp:txXfrm>
    </dsp:sp>
    <dsp:sp modelId="{E20A101E-7118-4273-9932-D019582BC7E5}">
      <dsp:nvSpPr>
        <dsp:cNvPr id="0" name=""/>
        <dsp:cNvSpPr/>
      </dsp:nvSpPr>
      <dsp:spPr>
        <a:xfrm>
          <a:off x="1299395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cen los reportes</a:t>
          </a:r>
        </a:p>
      </dsp:txBody>
      <dsp:txXfrm>
        <a:off x="12993959" y="9132300"/>
        <a:ext cx="6492220" cy="635012"/>
      </dsp:txXfrm>
    </dsp:sp>
    <dsp:sp modelId="{AC2EE8B0-E87E-42A7-A10A-8C5F3FD4783F}">
      <dsp:nvSpPr>
        <dsp:cNvPr id="0" name=""/>
        <dsp:cNvSpPr/>
      </dsp:nvSpPr>
      <dsp:spPr>
        <a:xfrm rot="10800000">
          <a:off x="0" y="6312016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oporte</a:t>
          </a:r>
        </a:p>
      </dsp:txBody>
      <dsp:txXfrm rot="-10800000">
        <a:off x="0" y="6312016"/>
        <a:ext cx="19495699" cy="745225"/>
      </dsp:txXfrm>
    </dsp:sp>
    <dsp:sp modelId="{007CFC69-67D0-405F-A6F8-03FBB5EBCBD4}">
      <dsp:nvSpPr>
        <dsp:cNvPr id="0" name=""/>
        <dsp:cNvSpPr/>
      </dsp:nvSpPr>
      <dsp:spPr>
        <a:xfrm>
          <a:off x="951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Nuevos reportes</a:t>
          </a:r>
        </a:p>
      </dsp:txBody>
      <dsp:txXfrm>
        <a:off x="9519" y="7057242"/>
        <a:ext cx="6492220" cy="634822"/>
      </dsp:txXfrm>
    </dsp:sp>
    <dsp:sp modelId="{D5A9615E-6D64-42C7-A7F4-7B2D96EEBF35}">
      <dsp:nvSpPr>
        <dsp:cNvPr id="0" name=""/>
        <dsp:cNvSpPr/>
      </dsp:nvSpPr>
      <dsp:spPr>
        <a:xfrm>
          <a:off x="650173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sarrollo</a:t>
          </a:r>
        </a:p>
      </dsp:txBody>
      <dsp:txXfrm>
        <a:off x="6501739" y="7057242"/>
        <a:ext cx="6492220" cy="634822"/>
      </dsp:txXfrm>
    </dsp:sp>
    <dsp:sp modelId="{2CE9A198-0D82-4501-923D-1C7A3202EBC9}">
      <dsp:nvSpPr>
        <dsp:cNvPr id="0" name=""/>
        <dsp:cNvSpPr/>
      </dsp:nvSpPr>
      <dsp:spPr>
        <a:xfrm>
          <a:off x="1299395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3D</a:t>
          </a:r>
        </a:p>
      </dsp:txBody>
      <dsp:txXfrm>
        <a:off x="12993959" y="7057242"/>
        <a:ext cx="6492220" cy="634822"/>
      </dsp:txXfrm>
    </dsp:sp>
    <dsp:sp modelId="{95AD91AD-CB62-4BD8-94F0-DFCC20ABD171}">
      <dsp:nvSpPr>
        <dsp:cNvPr id="0" name=""/>
        <dsp:cNvSpPr/>
      </dsp:nvSpPr>
      <dsp:spPr>
        <a:xfrm rot="10800000">
          <a:off x="0" y="4209572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ibertec Modelo Riesgos</a:t>
          </a:r>
        </a:p>
      </dsp:txBody>
      <dsp:txXfrm rot="-10800000">
        <a:off x="0" y="4209572"/>
        <a:ext cx="19495699" cy="745225"/>
      </dsp:txXfrm>
    </dsp:sp>
    <dsp:sp modelId="{9D8D2D06-5FB4-42DA-988C-D4400F8A15D7}">
      <dsp:nvSpPr>
        <dsp:cNvPr id="0" name=""/>
        <dsp:cNvSpPr/>
      </dsp:nvSpPr>
      <dsp:spPr>
        <a:xfrm>
          <a:off x="951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Propuesta nueva (que no encuentran)</a:t>
          </a:r>
        </a:p>
      </dsp:txBody>
      <dsp:txXfrm>
        <a:off x="9519" y="4954798"/>
        <a:ext cx="6492220" cy="634822"/>
      </dsp:txXfrm>
    </dsp:sp>
    <dsp:sp modelId="{757C85E8-B454-49CD-8F22-D3E9EB042994}">
      <dsp:nvSpPr>
        <dsp:cNvPr id="0" name=""/>
        <dsp:cNvSpPr/>
      </dsp:nvSpPr>
      <dsp:spPr>
        <a:xfrm>
          <a:off x="650173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Boletín y reportes</a:t>
          </a:r>
        </a:p>
      </dsp:txBody>
      <dsp:txXfrm>
        <a:off x="6501739" y="4954798"/>
        <a:ext cx="6492220" cy="634822"/>
      </dsp:txXfrm>
    </dsp:sp>
    <dsp:sp modelId="{49A26938-D933-49A6-8EA8-CC39758147BA}">
      <dsp:nvSpPr>
        <dsp:cNvPr id="0" name=""/>
        <dsp:cNvSpPr/>
      </dsp:nvSpPr>
      <dsp:spPr>
        <a:xfrm>
          <a:off x="1299395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Video comercial y notas </a:t>
          </a:r>
        </a:p>
      </dsp:txBody>
      <dsp:txXfrm>
        <a:off x="12993959" y="4954798"/>
        <a:ext cx="6492220" cy="634822"/>
      </dsp:txXfrm>
    </dsp:sp>
    <dsp:sp modelId="{DE4459A0-95C5-4725-9F03-9A0AD2F9926A}">
      <dsp:nvSpPr>
        <dsp:cNvPr id="0" name=""/>
        <dsp:cNvSpPr/>
      </dsp:nvSpPr>
      <dsp:spPr>
        <a:xfrm rot="10800000">
          <a:off x="0" y="2107128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UPC Modelos Riesgos</a:t>
          </a:r>
        </a:p>
      </dsp:txBody>
      <dsp:txXfrm rot="-10800000">
        <a:off x="0" y="2107128"/>
        <a:ext cx="19495699" cy="745225"/>
      </dsp:txXfrm>
    </dsp:sp>
    <dsp:sp modelId="{B6AD687A-D1FE-4304-8D99-21A7AA53D287}">
      <dsp:nvSpPr>
        <dsp:cNvPr id="0" name=""/>
        <dsp:cNvSpPr/>
      </dsp:nvSpPr>
      <dsp:spPr>
        <a:xfrm>
          <a:off x="951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Reportes por Auspiciador centralizadores (DSYO)</a:t>
          </a:r>
        </a:p>
      </dsp:txBody>
      <dsp:txXfrm>
        <a:off x="9519" y="2852354"/>
        <a:ext cx="6492220" cy="634822"/>
      </dsp:txXfrm>
    </dsp:sp>
    <dsp:sp modelId="{62EB7941-A74D-4F18-8DE5-485D8A2C4F3A}">
      <dsp:nvSpPr>
        <dsp:cNvPr id="0" name=""/>
        <dsp:cNvSpPr/>
      </dsp:nvSpPr>
      <dsp:spPr>
        <a:xfrm>
          <a:off x="650173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odelos de reporte (repositorio)</a:t>
          </a:r>
        </a:p>
      </dsp:txBody>
      <dsp:txXfrm>
        <a:off x="6501739" y="2852354"/>
        <a:ext cx="6492220" cy="634822"/>
      </dsp:txXfrm>
    </dsp:sp>
    <dsp:sp modelId="{CEB0F7B0-2A19-4F09-BDC3-8C3B0ACA1B28}">
      <dsp:nvSpPr>
        <dsp:cNvPr id="0" name=""/>
        <dsp:cNvSpPr/>
      </dsp:nvSpPr>
      <dsp:spPr>
        <a:xfrm>
          <a:off x="1299395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zar variables</a:t>
          </a:r>
        </a:p>
      </dsp:txBody>
      <dsp:txXfrm>
        <a:off x="12993959" y="2852354"/>
        <a:ext cx="6492220" cy="634822"/>
      </dsp:txXfrm>
    </dsp:sp>
    <dsp:sp modelId="{F88137AA-2751-494D-A2CA-74235065E832}">
      <dsp:nvSpPr>
        <dsp:cNvPr id="0" name=""/>
        <dsp:cNvSpPr/>
      </dsp:nvSpPr>
      <dsp:spPr>
        <a:xfrm rot="10800000">
          <a:off x="0" y="4684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Sipan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 rot="-10800000">
        <a:off x="0" y="4684"/>
        <a:ext cx="19495699" cy="745225"/>
      </dsp:txXfrm>
    </dsp:sp>
    <dsp:sp modelId="{0EDD97D6-9FCF-4BD4-9B78-0101DA09CB2A}">
      <dsp:nvSpPr>
        <dsp:cNvPr id="0" name=""/>
        <dsp:cNvSpPr/>
      </dsp:nvSpPr>
      <dsp:spPr>
        <a:xfrm>
          <a:off x="951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Presentación o Video</a:t>
          </a:r>
        </a:p>
      </dsp:txBody>
      <dsp:txXfrm>
        <a:off x="9519" y="749910"/>
        <a:ext cx="6492220" cy="634822"/>
      </dsp:txXfrm>
    </dsp:sp>
    <dsp:sp modelId="{5B48657E-BE30-4828-B247-6BF8C67A5417}">
      <dsp:nvSpPr>
        <dsp:cNvPr id="0" name=""/>
        <dsp:cNvSpPr/>
      </dsp:nvSpPr>
      <dsp:spPr>
        <a:xfrm>
          <a:off x="650173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Encuesta satisfacción</a:t>
          </a:r>
        </a:p>
      </dsp:txBody>
      <dsp:txXfrm>
        <a:off x="6501739" y="749910"/>
        <a:ext cx="6492220" cy="634822"/>
      </dsp:txXfrm>
    </dsp:sp>
    <dsp:sp modelId="{775BC43A-FF86-4AE6-A97D-A464BAB13759}">
      <dsp:nvSpPr>
        <dsp:cNvPr id="0" name=""/>
        <dsp:cNvSpPr/>
      </dsp:nvSpPr>
      <dsp:spPr>
        <a:xfrm>
          <a:off x="1299395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aterial grabado</a:t>
          </a:r>
        </a:p>
      </dsp:txBody>
      <dsp:txXfrm>
        <a:off x="12993959" y="749910"/>
        <a:ext cx="6492220" cy="634822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A41F62-FAE9-43B9-9163-89540FD6DEC1}">
      <dsp:nvSpPr>
        <dsp:cNvPr id="0" name=""/>
        <dsp:cNvSpPr/>
      </dsp:nvSpPr>
      <dsp:spPr>
        <a:xfrm>
          <a:off x="10829368" y="6851444"/>
          <a:ext cx="6184783" cy="32242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Jhonatan Flores</a:t>
          </a:r>
        </a:p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755628" y="7728321"/>
        <a:ext cx="4187698" cy="2276506"/>
      </dsp:txXfrm>
    </dsp:sp>
    <dsp:sp modelId="{B4C96BEC-98F9-4EC5-AC0B-14E5BD424531}">
      <dsp:nvSpPr>
        <dsp:cNvPr id="0" name=""/>
        <dsp:cNvSpPr/>
      </dsp:nvSpPr>
      <dsp:spPr>
        <a:xfrm>
          <a:off x="2708392" y="6851444"/>
          <a:ext cx="6184783" cy="32242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Kennedy Luna : PBI y ETL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Yakori : ETL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Saidi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2779217" y="7728321"/>
        <a:ext cx="4187698" cy="2276506"/>
      </dsp:txXfrm>
    </dsp:sp>
    <dsp:sp modelId="{2FE30161-5C60-466C-9BF5-CEFA31F54EA4}">
      <dsp:nvSpPr>
        <dsp:cNvPr id="0" name=""/>
        <dsp:cNvSpPr/>
      </dsp:nvSpPr>
      <dsp:spPr>
        <a:xfrm>
          <a:off x="10601231" y="0"/>
          <a:ext cx="6641059" cy="32242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ilvestre Acosta :Líder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Kennedy Luna : Consultor BI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664373" y="70825"/>
        <a:ext cx="4507091" cy="2276506"/>
      </dsp:txXfrm>
    </dsp:sp>
    <dsp:sp modelId="{C29649C1-A21A-4DA3-B338-7BCE30F32902}">
      <dsp:nvSpPr>
        <dsp:cNvPr id="0" name=""/>
        <dsp:cNvSpPr/>
      </dsp:nvSpPr>
      <dsp:spPr>
        <a:xfrm>
          <a:off x="2708392" y="0"/>
          <a:ext cx="6184783" cy="32242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rlos Vera : Líder 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rmen Abad :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Account</a:t>
          </a: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 Manager</a:t>
          </a:r>
        </a:p>
      </dsp:txBody>
      <dsp:txXfrm>
        <a:off x="2779217" y="70825"/>
        <a:ext cx="4187698" cy="2276506"/>
      </dsp:txXfrm>
    </dsp:sp>
    <dsp:sp modelId="{048FFB3B-5C29-49EB-AAB3-FDFCE6B26557}">
      <dsp:nvSpPr>
        <dsp:cNvPr id="0" name=""/>
        <dsp:cNvSpPr/>
      </dsp:nvSpPr>
      <dsp:spPr>
        <a:xfrm>
          <a:off x="5511827" y="574312"/>
          <a:ext cx="4362757" cy="4362757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omercial : Apps y Soluciones</a:t>
          </a:r>
        </a:p>
      </dsp:txBody>
      <dsp:txXfrm>
        <a:off x="6789649" y="1852134"/>
        <a:ext cx="3084935" cy="3084935"/>
      </dsp:txXfrm>
    </dsp:sp>
    <dsp:sp modelId="{59459A3E-2B79-4498-9275-243D04AC410B}">
      <dsp:nvSpPr>
        <dsp:cNvPr id="0" name=""/>
        <dsp:cNvSpPr/>
      </dsp:nvSpPr>
      <dsp:spPr>
        <a:xfrm rot="5400000">
          <a:off x="10076098" y="574312"/>
          <a:ext cx="4362757" cy="4362757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lumno 360</a:t>
          </a:r>
        </a:p>
      </dsp:txBody>
      <dsp:txXfrm rot="-5400000">
        <a:off x="10076098" y="1852134"/>
        <a:ext cx="3084935" cy="3084935"/>
      </dsp:txXfrm>
    </dsp:sp>
    <dsp:sp modelId="{A3B16A58-2DDC-4772-A2E5-036D308AB6DA}">
      <dsp:nvSpPr>
        <dsp:cNvPr id="0" name=""/>
        <dsp:cNvSpPr/>
      </dsp:nvSpPr>
      <dsp:spPr>
        <a:xfrm rot="10800000">
          <a:off x="10076098" y="5138583"/>
          <a:ext cx="4362757" cy="4362757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nálisis Funcional</a:t>
          </a:r>
        </a:p>
      </dsp:txBody>
      <dsp:txXfrm rot="10800000">
        <a:off x="10076098" y="5138583"/>
        <a:ext cx="3084935" cy="3084935"/>
      </dsp:txXfrm>
    </dsp:sp>
    <dsp:sp modelId="{075A8DE5-85A6-4DDB-8683-6AC871D00272}">
      <dsp:nvSpPr>
        <dsp:cNvPr id="0" name=""/>
        <dsp:cNvSpPr/>
      </dsp:nvSpPr>
      <dsp:spPr>
        <a:xfrm rot="16200000">
          <a:off x="5511827" y="5138583"/>
          <a:ext cx="4362757" cy="4362757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Power</a:t>
          </a: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 BI y ETL</a:t>
          </a:r>
        </a:p>
      </dsp:txBody>
      <dsp:txXfrm rot="5400000">
        <a:off x="6789649" y="5138583"/>
        <a:ext cx="3084935" cy="3084935"/>
      </dsp:txXfrm>
    </dsp:sp>
    <dsp:sp modelId="{2934D2CC-D2D2-4613-8CAD-C85CD795A0B6}">
      <dsp:nvSpPr>
        <dsp:cNvPr id="0" name=""/>
        <dsp:cNvSpPr/>
      </dsp:nvSpPr>
      <dsp:spPr>
        <a:xfrm>
          <a:off x="9222186" y="4131017"/>
          <a:ext cx="1506310" cy="1309834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12ADAD-FAEF-411D-AFA9-FF42E3FF5D3C}">
      <dsp:nvSpPr>
        <dsp:cNvPr id="0" name=""/>
        <dsp:cNvSpPr/>
      </dsp:nvSpPr>
      <dsp:spPr>
        <a:xfrm rot="10800000">
          <a:off x="9222186" y="4634800"/>
          <a:ext cx="1506310" cy="1309834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4D0629-8307-48D1-983E-19A89023459E}">
      <dsp:nvSpPr>
        <dsp:cNvPr id="0" name=""/>
        <dsp:cNvSpPr/>
      </dsp:nvSpPr>
      <dsp:spPr>
        <a:xfrm>
          <a:off x="0" y="8414460"/>
          <a:ext cx="19495699" cy="13804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Nuevos Requerimientos</a:t>
          </a:r>
        </a:p>
      </dsp:txBody>
      <dsp:txXfrm>
        <a:off x="0" y="8414460"/>
        <a:ext cx="19495699" cy="745449"/>
      </dsp:txXfrm>
    </dsp:sp>
    <dsp:sp modelId="{DEBFAFF2-398E-4993-B947-F97E616F6405}">
      <dsp:nvSpPr>
        <dsp:cNvPr id="0" name=""/>
        <dsp:cNvSpPr/>
      </dsp:nvSpPr>
      <dsp:spPr>
        <a:xfrm>
          <a:off x="951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cen la Base</a:t>
          </a:r>
        </a:p>
      </dsp:txBody>
      <dsp:txXfrm>
        <a:off x="9519" y="9132300"/>
        <a:ext cx="6492220" cy="635012"/>
      </dsp:txXfrm>
    </dsp:sp>
    <dsp:sp modelId="{635FF771-35C9-4403-A55A-FB31CB316DC3}">
      <dsp:nvSpPr>
        <dsp:cNvPr id="0" name=""/>
        <dsp:cNvSpPr/>
      </dsp:nvSpPr>
      <dsp:spPr>
        <a:xfrm>
          <a:off x="650173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etodología de recojo de datos en campo</a:t>
          </a:r>
        </a:p>
      </dsp:txBody>
      <dsp:txXfrm>
        <a:off x="6501739" y="9132300"/>
        <a:ext cx="6492220" cy="635012"/>
      </dsp:txXfrm>
    </dsp:sp>
    <dsp:sp modelId="{E20A101E-7118-4273-9932-D019582BC7E5}">
      <dsp:nvSpPr>
        <dsp:cNvPr id="0" name=""/>
        <dsp:cNvSpPr/>
      </dsp:nvSpPr>
      <dsp:spPr>
        <a:xfrm>
          <a:off x="1299395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cen los reportes</a:t>
          </a:r>
        </a:p>
      </dsp:txBody>
      <dsp:txXfrm>
        <a:off x="12993959" y="9132300"/>
        <a:ext cx="6492220" cy="635012"/>
      </dsp:txXfrm>
    </dsp:sp>
    <dsp:sp modelId="{AC2EE8B0-E87E-42A7-A10A-8C5F3FD4783F}">
      <dsp:nvSpPr>
        <dsp:cNvPr id="0" name=""/>
        <dsp:cNvSpPr/>
      </dsp:nvSpPr>
      <dsp:spPr>
        <a:xfrm rot="10800000">
          <a:off x="0" y="6312016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oporte</a:t>
          </a:r>
        </a:p>
      </dsp:txBody>
      <dsp:txXfrm rot="-10800000">
        <a:off x="0" y="6312016"/>
        <a:ext cx="19495699" cy="745225"/>
      </dsp:txXfrm>
    </dsp:sp>
    <dsp:sp modelId="{007CFC69-67D0-405F-A6F8-03FBB5EBCBD4}">
      <dsp:nvSpPr>
        <dsp:cNvPr id="0" name=""/>
        <dsp:cNvSpPr/>
      </dsp:nvSpPr>
      <dsp:spPr>
        <a:xfrm>
          <a:off x="951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Nuevos reportes</a:t>
          </a:r>
        </a:p>
      </dsp:txBody>
      <dsp:txXfrm>
        <a:off x="9519" y="7057242"/>
        <a:ext cx="6492220" cy="634822"/>
      </dsp:txXfrm>
    </dsp:sp>
    <dsp:sp modelId="{D5A9615E-6D64-42C7-A7F4-7B2D96EEBF35}">
      <dsp:nvSpPr>
        <dsp:cNvPr id="0" name=""/>
        <dsp:cNvSpPr/>
      </dsp:nvSpPr>
      <dsp:spPr>
        <a:xfrm>
          <a:off x="650173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sarrollo</a:t>
          </a:r>
        </a:p>
      </dsp:txBody>
      <dsp:txXfrm>
        <a:off x="6501739" y="7057242"/>
        <a:ext cx="6492220" cy="634822"/>
      </dsp:txXfrm>
    </dsp:sp>
    <dsp:sp modelId="{2CE9A198-0D82-4501-923D-1C7A3202EBC9}">
      <dsp:nvSpPr>
        <dsp:cNvPr id="0" name=""/>
        <dsp:cNvSpPr/>
      </dsp:nvSpPr>
      <dsp:spPr>
        <a:xfrm>
          <a:off x="1299395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3D</a:t>
          </a:r>
        </a:p>
      </dsp:txBody>
      <dsp:txXfrm>
        <a:off x="12993959" y="7057242"/>
        <a:ext cx="6492220" cy="634822"/>
      </dsp:txXfrm>
    </dsp:sp>
    <dsp:sp modelId="{95AD91AD-CB62-4BD8-94F0-DFCC20ABD171}">
      <dsp:nvSpPr>
        <dsp:cNvPr id="0" name=""/>
        <dsp:cNvSpPr/>
      </dsp:nvSpPr>
      <dsp:spPr>
        <a:xfrm rot="10800000">
          <a:off x="0" y="4209572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ibertec Modelo Riesgos</a:t>
          </a:r>
        </a:p>
      </dsp:txBody>
      <dsp:txXfrm rot="-10800000">
        <a:off x="0" y="4209572"/>
        <a:ext cx="19495699" cy="745225"/>
      </dsp:txXfrm>
    </dsp:sp>
    <dsp:sp modelId="{9D8D2D06-5FB4-42DA-988C-D4400F8A15D7}">
      <dsp:nvSpPr>
        <dsp:cNvPr id="0" name=""/>
        <dsp:cNvSpPr/>
      </dsp:nvSpPr>
      <dsp:spPr>
        <a:xfrm>
          <a:off x="951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Propuesta nueva (que no encuentran)</a:t>
          </a:r>
        </a:p>
      </dsp:txBody>
      <dsp:txXfrm>
        <a:off x="9519" y="4954798"/>
        <a:ext cx="6492220" cy="634822"/>
      </dsp:txXfrm>
    </dsp:sp>
    <dsp:sp modelId="{757C85E8-B454-49CD-8F22-D3E9EB042994}">
      <dsp:nvSpPr>
        <dsp:cNvPr id="0" name=""/>
        <dsp:cNvSpPr/>
      </dsp:nvSpPr>
      <dsp:spPr>
        <a:xfrm>
          <a:off x="650173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Boletín y reportes</a:t>
          </a:r>
        </a:p>
      </dsp:txBody>
      <dsp:txXfrm>
        <a:off x="6501739" y="4954798"/>
        <a:ext cx="6492220" cy="634822"/>
      </dsp:txXfrm>
    </dsp:sp>
    <dsp:sp modelId="{49A26938-D933-49A6-8EA8-CC39758147BA}">
      <dsp:nvSpPr>
        <dsp:cNvPr id="0" name=""/>
        <dsp:cNvSpPr/>
      </dsp:nvSpPr>
      <dsp:spPr>
        <a:xfrm>
          <a:off x="1299395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Video comercial y notas </a:t>
          </a:r>
        </a:p>
      </dsp:txBody>
      <dsp:txXfrm>
        <a:off x="12993959" y="4954798"/>
        <a:ext cx="6492220" cy="634822"/>
      </dsp:txXfrm>
    </dsp:sp>
    <dsp:sp modelId="{DE4459A0-95C5-4725-9F03-9A0AD2F9926A}">
      <dsp:nvSpPr>
        <dsp:cNvPr id="0" name=""/>
        <dsp:cNvSpPr/>
      </dsp:nvSpPr>
      <dsp:spPr>
        <a:xfrm rot="10800000">
          <a:off x="0" y="2107128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UPC Modelos Riesgos</a:t>
          </a:r>
        </a:p>
      </dsp:txBody>
      <dsp:txXfrm rot="-10800000">
        <a:off x="0" y="2107128"/>
        <a:ext cx="19495699" cy="745225"/>
      </dsp:txXfrm>
    </dsp:sp>
    <dsp:sp modelId="{B6AD687A-D1FE-4304-8D99-21A7AA53D287}">
      <dsp:nvSpPr>
        <dsp:cNvPr id="0" name=""/>
        <dsp:cNvSpPr/>
      </dsp:nvSpPr>
      <dsp:spPr>
        <a:xfrm>
          <a:off x="951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Reportes por Auspiciador centralizadores (DSYO)</a:t>
          </a:r>
        </a:p>
      </dsp:txBody>
      <dsp:txXfrm>
        <a:off x="9519" y="2852354"/>
        <a:ext cx="6492220" cy="634822"/>
      </dsp:txXfrm>
    </dsp:sp>
    <dsp:sp modelId="{62EB7941-A74D-4F18-8DE5-485D8A2C4F3A}">
      <dsp:nvSpPr>
        <dsp:cNvPr id="0" name=""/>
        <dsp:cNvSpPr/>
      </dsp:nvSpPr>
      <dsp:spPr>
        <a:xfrm>
          <a:off x="650173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odelos de reporte (repositorio)</a:t>
          </a:r>
        </a:p>
      </dsp:txBody>
      <dsp:txXfrm>
        <a:off x="6501739" y="2852354"/>
        <a:ext cx="6492220" cy="634822"/>
      </dsp:txXfrm>
    </dsp:sp>
    <dsp:sp modelId="{CEB0F7B0-2A19-4F09-BDC3-8C3B0ACA1B28}">
      <dsp:nvSpPr>
        <dsp:cNvPr id="0" name=""/>
        <dsp:cNvSpPr/>
      </dsp:nvSpPr>
      <dsp:spPr>
        <a:xfrm>
          <a:off x="1299395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zar variables</a:t>
          </a:r>
        </a:p>
      </dsp:txBody>
      <dsp:txXfrm>
        <a:off x="12993959" y="2852354"/>
        <a:ext cx="6492220" cy="634822"/>
      </dsp:txXfrm>
    </dsp:sp>
    <dsp:sp modelId="{F88137AA-2751-494D-A2CA-74235065E832}">
      <dsp:nvSpPr>
        <dsp:cNvPr id="0" name=""/>
        <dsp:cNvSpPr/>
      </dsp:nvSpPr>
      <dsp:spPr>
        <a:xfrm rot="10800000">
          <a:off x="0" y="4684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Sipan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 rot="-10800000">
        <a:off x="0" y="4684"/>
        <a:ext cx="19495699" cy="745225"/>
      </dsp:txXfrm>
    </dsp:sp>
    <dsp:sp modelId="{0EDD97D6-9FCF-4BD4-9B78-0101DA09CB2A}">
      <dsp:nvSpPr>
        <dsp:cNvPr id="0" name=""/>
        <dsp:cNvSpPr/>
      </dsp:nvSpPr>
      <dsp:spPr>
        <a:xfrm>
          <a:off x="951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Presentación o Video</a:t>
          </a:r>
        </a:p>
      </dsp:txBody>
      <dsp:txXfrm>
        <a:off x="9519" y="749910"/>
        <a:ext cx="6492220" cy="634822"/>
      </dsp:txXfrm>
    </dsp:sp>
    <dsp:sp modelId="{5B48657E-BE30-4828-B247-6BF8C67A5417}">
      <dsp:nvSpPr>
        <dsp:cNvPr id="0" name=""/>
        <dsp:cNvSpPr/>
      </dsp:nvSpPr>
      <dsp:spPr>
        <a:xfrm>
          <a:off x="650173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Encuesta satisfacción</a:t>
          </a:r>
        </a:p>
      </dsp:txBody>
      <dsp:txXfrm>
        <a:off x="6501739" y="749910"/>
        <a:ext cx="6492220" cy="634822"/>
      </dsp:txXfrm>
    </dsp:sp>
    <dsp:sp modelId="{775BC43A-FF86-4AE6-A97D-A464BAB13759}">
      <dsp:nvSpPr>
        <dsp:cNvPr id="0" name=""/>
        <dsp:cNvSpPr/>
      </dsp:nvSpPr>
      <dsp:spPr>
        <a:xfrm>
          <a:off x="1299395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aterial grabado</a:t>
          </a:r>
        </a:p>
      </dsp:txBody>
      <dsp:txXfrm>
        <a:off x="12993959" y="749910"/>
        <a:ext cx="6492220" cy="634822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4EA502-D312-4759-B024-123BBF7E6FAF}">
      <dsp:nvSpPr>
        <dsp:cNvPr id="0" name=""/>
        <dsp:cNvSpPr/>
      </dsp:nvSpPr>
      <dsp:spPr>
        <a:xfrm>
          <a:off x="2421" y="1280396"/>
          <a:ext cx="1698314" cy="8491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 dirty="0">
              <a:latin typeface="Helvetica"/>
              <a:cs typeface="Helvetica"/>
            </a:rPr>
            <a:t>JESUS</a:t>
          </a:r>
          <a:endParaRPr lang="es-ES" sz="2000" kern="1200" dirty="0"/>
        </a:p>
      </dsp:txBody>
      <dsp:txXfrm>
        <a:off x="27292" y="1305267"/>
        <a:ext cx="1648572" cy="799415"/>
      </dsp:txXfrm>
    </dsp:sp>
    <dsp:sp modelId="{F15903AC-B8FB-4812-AA69-A8618C55087D}">
      <dsp:nvSpPr>
        <dsp:cNvPr id="0" name=""/>
        <dsp:cNvSpPr/>
      </dsp:nvSpPr>
      <dsp:spPr>
        <a:xfrm rot="18289469">
          <a:off x="1445610" y="1194297"/>
          <a:ext cx="1189578" cy="44824"/>
        </a:xfrm>
        <a:custGeom>
          <a:avLst/>
          <a:gdLst/>
          <a:ahLst/>
          <a:cxnLst/>
          <a:rect l="0" t="0" r="0" b="0"/>
          <a:pathLst>
            <a:path>
              <a:moveTo>
                <a:pt x="0" y="22412"/>
              </a:moveTo>
              <a:lnTo>
                <a:pt x="1189578" y="224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2010660" y="1186969"/>
        <a:ext cx="59478" cy="59478"/>
      </dsp:txXfrm>
    </dsp:sp>
    <dsp:sp modelId="{EF8EF8A5-9CDD-47E5-81E6-0ECC48F48519}">
      <dsp:nvSpPr>
        <dsp:cNvPr id="0" name=""/>
        <dsp:cNvSpPr/>
      </dsp:nvSpPr>
      <dsp:spPr>
        <a:xfrm>
          <a:off x="2380062" y="303865"/>
          <a:ext cx="1698314" cy="8491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 dirty="0">
              <a:latin typeface="Helvetica"/>
              <a:cs typeface="Helvetica"/>
            </a:rPr>
            <a:t>MICONNECT</a:t>
          </a:r>
        </a:p>
      </dsp:txBody>
      <dsp:txXfrm>
        <a:off x="2404933" y="328736"/>
        <a:ext cx="1648572" cy="799415"/>
      </dsp:txXfrm>
    </dsp:sp>
    <dsp:sp modelId="{13FDF0E0-E120-4A73-80A2-E66BA82A80FB}">
      <dsp:nvSpPr>
        <dsp:cNvPr id="0" name=""/>
        <dsp:cNvSpPr/>
      </dsp:nvSpPr>
      <dsp:spPr>
        <a:xfrm>
          <a:off x="4078377" y="706031"/>
          <a:ext cx="679325" cy="44824"/>
        </a:xfrm>
        <a:custGeom>
          <a:avLst/>
          <a:gdLst/>
          <a:ahLst/>
          <a:cxnLst/>
          <a:rect l="0" t="0" r="0" b="0"/>
          <a:pathLst>
            <a:path>
              <a:moveTo>
                <a:pt x="0" y="22412"/>
              </a:moveTo>
              <a:lnTo>
                <a:pt x="679325" y="224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401057" y="711460"/>
        <a:ext cx="33966" cy="33966"/>
      </dsp:txXfrm>
    </dsp:sp>
    <dsp:sp modelId="{EB2F904A-288B-48C4-B7B2-4F8986707B2D}">
      <dsp:nvSpPr>
        <dsp:cNvPr id="0" name=""/>
        <dsp:cNvSpPr/>
      </dsp:nvSpPr>
      <dsp:spPr>
        <a:xfrm>
          <a:off x="4757703" y="303865"/>
          <a:ext cx="1698314" cy="8491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 dirty="0">
              <a:latin typeface="Helvetica"/>
              <a:cs typeface="Helvetica"/>
            </a:rPr>
            <a:t>SOPORTE</a:t>
          </a:r>
        </a:p>
      </dsp:txBody>
      <dsp:txXfrm>
        <a:off x="4782574" y="328736"/>
        <a:ext cx="1648572" cy="799415"/>
      </dsp:txXfrm>
    </dsp:sp>
    <dsp:sp modelId="{1BAB57BC-B805-40CC-9679-6639A8F587BC}">
      <dsp:nvSpPr>
        <dsp:cNvPr id="0" name=""/>
        <dsp:cNvSpPr/>
      </dsp:nvSpPr>
      <dsp:spPr>
        <a:xfrm>
          <a:off x="1700736" y="1682562"/>
          <a:ext cx="679325" cy="44824"/>
        </a:xfrm>
        <a:custGeom>
          <a:avLst/>
          <a:gdLst/>
          <a:ahLst/>
          <a:cxnLst/>
          <a:rect l="0" t="0" r="0" b="0"/>
          <a:pathLst>
            <a:path>
              <a:moveTo>
                <a:pt x="0" y="22412"/>
              </a:moveTo>
              <a:lnTo>
                <a:pt x="679325" y="224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2023416" y="1687991"/>
        <a:ext cx="33966" cy="33966"/>
      </dsp:txXfrm>
    </dsp:sp>
    <dsp:sp modelId="{66B51707-BA83-47B3-AD19-F727585B2C95}">
      <dsp:nvSpPr>
        <dsp:cNvPr id="0" name=""/>
        <dsp:cNvSpPr/>
      </dsp:nvSpPr>
      <dsp:spPr>
        <a:xfrm>
          <a:off x="2380062" y="1280396"/>
          <a:ext cx="1698314" cy="8491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 dirty="0">
              <a:latin typeface="Helvetica"/>
              <a:cs typeface="Helvetica"/>
            </a:rPr>
            <a:t>INTELICA</a:t>
          </a:r>
          <a:endParaRPr lang="es-ES" sz="2000" kern="1200" dirty="0"/>
        </a:p>
      </dsp:txBody>
      <dsp:txXfrm>
        <a:off x="2404933" y="1305267"/>
        <a:ext cx="1648572" cy="799415"/>
      </dsp:txXfrm>
    </dsp:sp>
    <dsp:sp modelId="{9ADBA6A1-E10F-4559-AA96-48A9861CDDEA}">
      <dsp:nvSpPr>
        <dsp:cNvPr id="0" name=""/>
        <dsp:cNvSpPr/>
      </dsp:nvSpPr>
      <dsp:spPr>
        <a:xfrm>
          <a:off x="4078377" y="1682562"/>
          <a:ext cx="679325" cy="44824"/>
        </a:xfrm>
        <a:custGeom>
          <a:avLst/>
          <a:gdLst/>
          <a:ahLst/>
          <a:cxnLst/>
          <a:rect l="0" t="0" r="0" b="0"/>
          <a:pathLst>
            <a:path>
              <a:moveTo>
                <a:pt x="0" y="22412"/>
              </a:moveTo>
              <a:lnTo>
                <a:pt x="679325" y="224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401057" y="1687991"/>
        <a:ext cx="33966" cy="33966"/>
      </dsp:txXfrm>
    </dsp:sp>
    <dsp:sp modelId="{93107F03-432B-4672-9BBF-5F1409A3C448}">
      <dsp:nvSpPr>
        <dsp:cNvPr id="0" name=""/>
        <dsp:cNvSpPr/>
      </dsp:nvSpPr>
      <dsp:spPr>
        <a:xfrm>
          <a:off x="4757703" y="1280396"/>
          <a:ext cx="1698314" cy="8491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 dirty="0">
              <a:latin typeface="Helvetica"/>
              <a:cs typeface="Helvetica"/>
            </a:rPr>
            <a:t>-</a:t>
          </a:r>
          <a:endParaRPr lang="es-ES" sz="2000" kern="1200" dirty="0"/>
        </a:p>
      </dsp:txBody>
      <dsp:txXfrm>
        <a:off x="4782574" y="1305267"/>
        <a:ext cx="1648572" cy="799415"/>
      </dsp:txXfrm>
    </dsp:sp>
    <dsp:sp modelId="{0C0C5502-EBC3-4CA7-9BDF-3F5EE2A8AF7C}">
      <dsp:nvSpPr>
        <dsp:cNvPr id="0" name=""/>
        <dsp:cNvSpPr/>
      </dsp:nvSpPr>
      <dsp:spPr>
        <a:xfrm rot="3310531">
          <a:off x="1445610" y="2170828"/>
          <a:ext cx="1189578" cy="44824"/>
        </a:xfrm>
        <a:custGeom>
          <a:avLst/>
          <a:gdLst/>
          <a:ahLst/>
          <a:cxnLst/>
          <a:rect l="0" t="0" r="0" b="0"/>
          <a:pathLst>
            <a:path>
              <a:moveTo>
                <a:pt x="0" y="22412"/>
              </a:moveTo>
              <a:lnTo>
                <a:pt x="1189578" y="224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2010660" y="2163501"/>
        <a:ext cx="59478" cy="59478"/>
      </dsp:txXfrm>
    </dsp:sp>
    <dsp:sp modelId="{50531140-9B2F-4579-80BD-1C713B74F6E7}">
      <dsp:nvSpPr>
        <dsp:cNvPr id="0" name=""/>
        <dsp:cNvSpPr/>
      </dsp:nvSpPr>
      <dsp:spPr>
        <a:xfrm>
          <a:off x="2380062" y="2256927"/>
          <a:ext cx="1698314" cy="8491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 dirty="0">
              <a:latin typeface="Helvetica"/>
              <a:cs typeface="Helvetica"/>
            </a:rPr>
            <a:t>MINED</a:t>
          </a:r>
          <a:endParaRPr lang="es-ES" sz="2000" kern="1200" dirty="0"/>
        </a:p>
      </dsp:txBody>
      <dsp:txXfrm>
        <a:off x="2404933" y="2281798"/>
        <a:ext cx="1648572" cy="799415"/>
      </dsp:txXfrm>
    </dsp:sp>
    <dsp:sp modelId="{D8CDF5A1-AA7E-4EDE-AF8C-DCC55BB1FCC1}">
      <dsp:nvSpPr>
        <dsp:cNvPr id="0" name=""/>
        <dsp:cNvSpPr/>
      </dsp:nvSpPr>
      <dsp:spPr>
        <a:xfrm>
          <a:off x="4078377" y="2659093"/>
          <a:ext cx="679325" cy="44824"/>
        </a:xfrm>
        <a:custGeom>
          <a:avLst/>
          <a:gdLst/>
          <a:ahLst/>
          <a:cxnLst/>
          <a:rect l="0" t="0" r="0" b="0"/>
          <a:pathLst>
            <a:path>
              <a:moveTo>
                <a:pt x="0" y="22412"/>
              </a:moveTo>
              <a:lnTo>
                <a:pt x="679325" y="224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401057" y="2664522"/>
        <a:ext cx="33966" cy="33966"/>
      </dsp:txXfrm>
    </dsp:sp>
    <dsp:sp modelId="{DED6FB85-E750-4F67-A23C-48C391747B23}">
      <dsp:nvSpPr>
        <dsp:cNvPr id="0" name=""/>
        <dsp:cNvSpPr/>
      </dsp:nvSpPr>
      <dsp:spPr>
        <a:xfrm>
          <a:off x="4757703" y="2256927"/>
          <a:ext cx="1698314" cy="8491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 dirty="0">
              <a:latin typeface="Helvetica"/>
              <a:cs typeface="Helvetica"/>
            </a:rPr>
            <a:t>PAQUETES DE CAMBIOS</a:t>
          </a:r>
          <a:endParaRPr lang="es-ES" sz="2000" kern="1200" dirty="0"/>
        </a:p>
      </dsp:txBody>
      <dsp:txXfrm>
        <a:off x="4782574" y="2281798"/>
        <a:ext cx="1648572" cy="79941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4EA502-D312-4759-B024-123BBF7E6FAF}">
      <dsp:nvSpPr>
        <dsp:cNvPr id="0" name=""/>
        <dsp:cNvSpPr/>
      </dsp:nvSpPr>
      <dsp:spPr>
        <a:xfrm>
          <a:off x="1644" y="1556518"/>
          <a:ext cx="1698724" cy="849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 dirty="0">
              <a:latin typeface="Helvetica"/>
              <a:cs typeface="Helvetica"/>
            </a:rPr>
            <a:t>EMELY</a:t>
          </a:r>
          <a:endParaRPr lang="es-ES" sz="1500" kern="1200" dirty="0"/>
        </a:p>
      </dsp:txBody>
      <dsp:txXfrm>
        <a:off x="26521" y="1581395"/>
        <a:ext cx="1648970" cy="799608"/>
      </dsp:txXfrm>
    </dsp:sp>
    <dsp:sp modelId="{D61B20D6-016E-4E79-A715-FE05AEAC64B3}">
      <dsp:nvSpPr>
        <dsp:cNvPr id="0" name=""/>
        <dsp:cNvSpPr/>
      </dsp:nvSpPr>
      <dsp:spPr>
        <a:xfrm rot="18289469">
          <a:off x="1445181" y="1473524"/>
          <a:ext cx="1189865" cy="38583"/>
        </a:xfrm>
        <a:custGeom>
          <a:avLst/>
          <a:gdLst/>
          <a:ahLst/>
          <a:cxnLst/>
          <a:rect l="0" t="0" r="0" b="0"/>
          <a:pathLst>
            <a:path>
              <a:moveTo>
                <a:pt x="0" y="19291"/>
              </a:moveTo>
              <a:lnTo>
                <a:pt x="1189865" y="1929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2010366" y="1463070"/>
        <a:ext cx="59493" cy="59493"/>
      </dsp:txXfrm>
    </dsp:sp>
    <dsp:sp modelId="{C48113CA-3F7A-4377-8DE5-EAE20CFEFF61}">
      <dsp:nvSpPr>
        <dsp:cNvPr id="0" name=""/>
        <dsp:cNvSpPr/>
      </dsp:nvSpPr>
      <dsp:spPr>
        <a:xfrm>
          <a:off x="2379858" y="579752"/>
          <a:ext cx="1698724" cy="849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 dirty="0">
              <a:latin typeface="Helvetica"/>
              <a:cs typeface="Helvetica"/>
            </a:rPr>
            <a:t>MIVISUALIZATION</a:t>
          </a:r>
        </a:p>
      </dsp:txBody>
      <dsp:txXfrm>
        <a:off x="2404735" y="604629"/>
        <a:ext cx="1648970" cy="799608"/>
      </dsp:txXfrm>
    </dsp:sp>
    <dsp:sp modelId="{A0DDDAF0-022E-44D2-9384-566CD9D67546}">
      <dsp:nvSpPr>
        <dsp:cNvPr id="0" name=""/>
        <dsp:cNvSpPr/>
      </dsp:nvSpPr>
      <dsp:spPr>
        <a:xfrm>
          <a:off x="4078582" y="985141"/>
          <a:ext cx="679489" cy="38583"/>
        </a:xfrm>
        <a:custGeom>
          <a:avLst/>
          <a:gdLst/>
          <a:ahLst/>
          <a:cxnLst/>
          <a:rect l="0" t="0" r="0" b="0"/>
          <a:pathLst>
            <a:path>
              <a:moveTo>
                <a:pt x="0" y="19291"/>
              </a:moveTo>
              <a:lnTo>
                <a:pt x="679489" y="1929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401340" y="987446"/>
        <a:ext cx="33974" cy="33974"/>
      </dsp:txXfrm>
    </dsp:sp>
    <dsp:sp modelId="{47A3BB87-47B1-47E9-AC04-B2C7D45BCC1F}">
      <dsp:nvSpPr>
        <dsp:cNvPr id="0" name=""/>
        <dsp:cNvSpPr/>
      </dsp:nvSpPr>
      <dsp:spPr>
        <a:xfrm>
          <a:off x="4758072" y="579752"/>
          <a:ext cx="1698724" cy="849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 dirty="0">
              <a:latin typeface="Helvetica"/>
              <a:cs typeface="Helvetica"/>
            </a:rPr>
            <a:t>SOPORTE</a:t>
          </a:r>
        </a:p>
      </dsp:txBody>
      <dsp:txXfrm>
        <a:off x="4782949" y="604629"/>
        <a:ext cx="1648970" cy="799608"/>
      </dsp:txXfrm>
    </dsp:sp>
    <dsp:sp modelId="{1BAB57BC-B805-40CC-9679-6639A8F587BC}">
      <dsp:nvSpPr>
        <dsp:cNvPr id="0" name=""/>
        <dsp:cNvSpPr/>
      </dsp:nvSpPr>
      <dsp:spPr>
        <a:xfrm>
          <a:off x="1700368" y="1961908"/>
          <a:ext cx="679489" cy="38583"/>
        </a:xfrm>
        <a:custGeom>
          <a:avLst/>
          <a:gdLst/>
          <a:ahLst/>
          <a:cxnLst/>
          <a:rect l="0" t="0" r="0" b="0"/>
          <a:pathLst>
            <a:path>
              <a:moveTo>
                <a:pt x="0" y="19291"/>
              </a:moveTo>
              <a:lnTo>
                <a:pt x="679489" y="1929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2023126" y="1964212"/>
        <a:ext cx="33974" cy="33974"/>
      </dsp:txXfrm>
    </dsp:sp>
    <dsp:sp modelId="{66B51707-BA83-47B3-AD19-F727585B2C95}">
      <dsp:nvSpPr>
        <dsp:cNvPr id="0" name=""/>
        <dsp:cNvSpPr/>
      </dsp:nvSpPr>
      <dsp:spPr>
        <a:xfrm>
          <a:off x="2379858" y="1556518"/>
          <a:ext cx="1698724" cy="849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 dirty="0">
              <a:latin typeface="Helvetica"/>
              <a:cs typeface="Helvetica"/>
            </a:rPr>
            <a:t>MERF</a:t>
          </a:r>
          <a:endParaRPr lang="es-ES" sz="1500" kern="1200" dirty="0"/>
        </a:p>
      </dsp:txBody>
      <dsp:txXfrm>
        <a:off x="2404735" y="1581395"/>
        <a:ext cx="1648970" cy="799608"/>
      </dsp:txXfrm>
    </dsp:sp>
    <dsp:sp modelId="{9ADBA6A1-E10F-4559-AA96-48A9861CDDEA}">
      <dsp:nvSpPr>
        <dsp:cNvPr id="0" name=""/>
        <dsp:cNvSpPr/>
      </dsp:nvSpPr>
      <dsp:spPr>
        <a:xfrm>
          <a:off x="4078582" y="1961908"/>
          <a:ext cx="679489" cy="38583"/>
        </a:xfrm>
        <a:custGeom>
          <a:avLst/>
          <a:gdLst/>
          <a:ahLst/>
          <a:cxnLst/>
          <a:rect l="0" t="0" r="0" b="0"/>
          <a:pathLst>
            <a:path>
              <a:moveTo>
                <a:pt x="0" y="19291"/>
              </a:moveTo>
              <a:lnTo>
                <a:pt x="679489" y="1929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401340" y="1964212"/>
        <a:ext cx="33974" cy="33974"/>
      </dsp:txXfrm>
    </dsp:sp>
    <dsp:sp modelId="{93107F03-432B-4672-9BBF-5F1409A3C448}">
      <dsp:nvSpPr>
        <dsp:cNvPr id="0" name=""/>
        <dsp:cNvSpPr/>
      </dsp:nvSpPr>
      <dsp:spPr>
        <a:xfrm>
          <a:off x="4758072" y="1556518"/>
          <a:ext cx="1698724" cy="849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 dirty="0">
              <a:latin typeface="Helvetica"/>
              <a:cs typeface="Helvetica"/>
            </a:rPr>
            <a:t> SIN ACTIVIDADES</a:t>
          </a:r>
          <a:endParaRPr lang="es-ES" sz="1500" kern="1200" dirty="0"/>
        </a:p>
      </dsp:txBody>
      <dsp:txXfrm>
        <a:off x="4782949" y="1581395"/>
        <a:ext cx="1648970" cy="799608"/>
      </dsp:txXfrm>
    </dsp:sp>
    <dsp:sp modelId="{0C0C5502-EBC3-4CA7-9BDF-3F5EE2A8AF7C}">
      <dsp:nvSpPr>
        <dsp:cNvPr id="0" name=""/>
        <dsp:cNvSpPr/>
      </dsp:nvSpPr>
      <dsp:spPr>
        <a:xfrm rot="3310531">
          <a:off x="1445181" y="2450291"/>
          <a:ext cx="1189865" cy="38583"/>
        </a:xfrm>
        <a:custGeom>
          <a:avLst/>
          <a:gdLst/>
          <a:ahLst/>
          <a:cxnLst/>
          <a:rect l="0" t="0" r="0" b="0"/>
          <a:pathLst>
            <a:path>
              <a:moveTo>
                <a:pt x="0" y="19291"/>
              </a:moveTo>
              <a:lnTo>
                <a:pt x="1189865" y="1929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2010366" y="2439836"/>
        <a:ext cx="59493" cy="59493"/>
      </dsp:txXfrm>
    </dsp:sp>
    <dsp:sp modelId="{50531140-9B2F-4579-80BD-1C713B74F6E7}">
      <dsp:nvSpPr>
        <dsp:cNvPr id="0" name=""/>
        <dsp:cNvSpPr/>
      </dsp:nvSpPr>
      <dsp:spPr>
        <a:xfrm>
          <a:off x="2379858" y="2533285"/>
          <a:ext cx="1698724" cy="849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 dirty="0">
              <a:latin typeface="Helvetica"/>
              <a:cs typeface="Helvetica"/>
            </a:rPr>
            <a:t>MINED</a:t>
          </a:r>
          <a:endParaRPr lang="es-ES" sz="1500" kern="1200" dirty="0"/>
        </a:p>
      </dsp:txBody>
      <dsp:txXfrm>
        <a:off x="2404735" y="2558162"/>
        <a:ext cx="1648970" cy="799608"/>
      </dsp:txXfrm>
    </dsp:sp>
    <dsp:sp modelId="{D8CDF5A1-AA7E-4EDE-AF8C-DCC55BB1FCC1}">
      <dsp:nvSpPr>
        <dsp:cNvPr id="0" name=""/>
        <dsp:cNvSpPr/>
      </dsp:nvSpPr>
      <dsp:spPr>
        <a:xfrm>
          <a:off x="4078582" y="2938674"/>
          <a:ext cx="679489" cy="38583"/>
        </a:xfrm>
        <a:custGeom>
          <a:avLst/>
          <a:gdLst/>
          <a:ahLst/>
          <a:cxnLst/>
          <a:rect l="0" t="0" r="0" b="0"/>
          <a:pathLst>
            <a:path>
              <a:moveTo>
                <a:pt x="0" y="19291"/>
              </a:moveTo>
              <a:lnTo>
                <a:pt x="679489" y="1929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401340" y="2940979"/>
        <a:ext cx="33974" cy="33974"/>
      </dsp:txXfrm>
    </dsp:sp>
    <dsp:sp modelId="{DED6FB85-E750-4F67-A23C-48C391747B23}">
      <dsp:nvSpPr>
        <dsp:cNvPr id="0" name=""/>
        <dsp:cNvSpPr/>
      </dsp:nvSpPr>
      <dsp:spPr>
        <a:xfrm>
          <a:off x="4758072" y="2533285"/>
          <a:ext cx="1698724" cy="8493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500" kern="1200" dirty="0">
              <a:latin typeface="Helvetica"/>
              <a:cs typeface="Helvetica"/>
            </a:rPr>
            <a:t>APP BIMINED</a:t>
          </a:r>
          <a:endParaRPr lang="es-ES" sz="1500" kern="1200" dirty="0"/>
        </a:p>
      </dsp:txBody>
      <dsp:txXfrm>
        <a:off x="4782949" y="2558162"/>
        <a:ext cx="1648970" cy="799608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4EA502-D312-4759-B024-123BBF7E6FAF}">
      <dsp:nvSpPr>
        <dsp:cNvPr id="0" name=""/>
        <dsp:cNvSpPr/>
      </dsp:nvSpPr>
      <dsp:spPr>
        <a:xfrm>
          <a:off x="2820" y="809950"/>
          <a:ext cx="1903697" cy="9518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100" kern="1200" dirty="0">
              <a:latin typeface="Helvetica"/>
              <a:cs typeface="Helvetica"/>
            </a:rPr>
            <a:t>WALTER</a:t>
          </a:r>
          <a:endParaRPr lang="es-ES" sz="2100" kern="1200" dirty="0"/>
        </a:p>
      </dsp:txBody>
      <dsp:txXfrm>
        <a:off x="30699" y="837829"/>
        <a:ext cx="1847939" cy="896090"/>
      </dsp:txXfrm>
    </dsp:sp>
    <dsp:sp modelId="{0C0C5502-EBC3-4CA7-9BDF-3F5EE2A8AF7C}">
      <dsp:nvSpPr>
        <dsp:cNvPr id="0" name=""/>
        <dsp:cNvSpPr/>
      </dsp:nvSpPr>
      <dsp:spPr>
        <a:xfrm>
          <a:off x="1906518" y="1252564"/>
          <a:ext cx="761479" cy="66621"/>
        </a:xfrm>
        <a:custGeom>
          <a:avLst/>
          <a:gdLst/>
          <a:ahLst/>
          <a:cxnLst/>
          <a:rect l="0" t="0" r="0" b="0"/>
          <a:pathLst>
            <a:path>
              <a:moveTo>
                <a:pt x="0" y="33310"/>
              </a:moveTo>
              <a:lnTo>
                <a:pt x="761479" y="3331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2268221" y="1266838"/>
        <a:ext cx="38073" cy="38073"/>
      </dsp:txXfrm>
    </dsp:sp>
    <dsp:sp modelId="{50531140-9B2F-4579-80BD-1C713B74F6E7}">
      <dsp:nvSpPr>
        <dsp:cNvPr id="0" name=""/>
        <dsp:cNvSpPr/>
      </dsp:nvSpPr>
      <dsp:spPr>
        <a:xfrm>
          <a:off x="2667997" y="809950"/>
          <a:ext cx="1903697" cy="9518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100" kern="1200" dirty="0">
              <a:latin typeface="Helvetica"/>
              <a:cs typeface="Helvetica"/>
            </a:rPr>
            <a:t>MINED</a:t>
          </a:r>
          <a:endParaRPr lang="es-ES" sz="2100" kern="1200" dirty="0"/>
        </a:p>
      </dsp:txBody>
      <dsp:txXfrm>
        <a:off x="2695876" y="837829"/>
        <a:ext cx="1847939" cy="896090"/>
      </dsp:txXfrm>
    </dsp:sp>
    <dsp:sp modelId="{D8CDF5A1-AA7E-4EDE-AF8C-DCC55BB1FCC1}">
      <dsp:nvSpPr>
        <dsp:cNvPr id="0" name=""/>
        <dsp:cNvSpPr/>
      </dsp:nvSpPr>
      <dsp:spPr>
        <a:xfrm>
          <a:off x="4571695" y="1252564"/>
          <a:ext cx="761479" cy="66621"/>
        </a:xfrm>
        <a:custGeom>
          <a:avLst/>
          <a:gdLst/>
          <a:ahLst/>
          <a:cxnLst/>
          <a:rect l="0" t="0" r="0" b="0"/>
          <a:pathLst>
            <a:path>
              <a:moveTo>
                <a:pt x="0" y="33310"/>
              </a:moveTo>
              <a:lnTo>
                <a:pt x="761479" y="3331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933397" y="1266838"/>
        <a:ext cx="38073" cy="38073"/>
      </dsp:txXfrm>
    </dsp:sp>
    <dsp:sp modelId="{DED6FB85-E750-4F67-A23C-48C391747B23}">
      <dsp:nvSpPr>
        <dsp:cNvPr id="0" name=""/>
        <dsp:cNvSpPr/>
      </dsp:nvSpPr>
      <dsp:spPr>
        <a:xfrm>
          <a:off x="5333174" y="809950"/>
          <a:ext cx="1903697" cy="9518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100" kern="1200" dirty="0">
              <a:latin typeface="Helvetica"/>
              <a:cs typeface="Helvetica"/>
            </a:rPr>
            <a:t>ESCARNER (FINALIZADO)</a:t>
          </a:r>
          <a:endParaRPr lang="es-ES" sz="2100" kern="1200" dirty="0"/>
        </a:p>
      </dsp:txBody>
      <dsp:txXfrm>
        <a:off x="5361053" y="837829"/>
        <a:ext cx="1847939" cy="896090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4EA502-D312-4759-B024-123BBF7E6FAF}">
      <dsp:nvSpPr>
        <dsp:cNvPr id="0" name=""/>
        <dsp:cNvSpPr/>
      </dsp:nvSpPr>
      <dsp:spPr>
        <a:xfrm>
          <a:off x="577" y="1511998"/>
          <a:ext cx="1914906" cy="9574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>
              <a:latin typeface="Helvetica"/>
              <a:cs typeface="Helvetica"/>
            </a:rPr>
            <a:t>GEANCARLOS</a:t>
          </a:r>
          <a:endParaRPr lang="es-ES" sz="1400" kern="1200" dirty="0"/>
        </a:p>
      </dsp:txBody>
      <dsp:txXfrm>
        <a:off x="28620" y="1540041"/>
        <a:ext cx="1858820" cy="901367"/>
      </dsp:txXfrm>
    </dsp:sp>
    <dsp:sp modelId="{0C0C5502-EBC3-4CA7-9BDF-3F5EE2A8AF7C}">
      <dsp:nvSpPr>
        <dsp:cNvPr id="0" name=""/>
        <dsp:cNvSpPr/>
      </dsp:nvSpPr>
      <dsp:spPr>
        <a:xfrm>
          <a:off x="1915484" y="1969081"/>
          <a:ext cx="765962" cy="43286"/>
        </a:xfrm>
        <a:custGeom>
          <a:avLst/>
          <a:gdLst/>
          <a:ahLst/>
          <a:cxnLst/>
          <a:rect l="0" t="0" r="0" b="0"/>
          <a:pathLst>
            <a:path>
              <a:moveTo>
                <a:pt x="0" y="21643"/>
              </a:moveTo>
              <a:lnTo>
                <a:pt x="765962" y="2164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2279316" y="1971575"/>
        <a:ext cx="38298" cy="38298"/>
      </dsp:txXfrm>
    </dsp:sp>
    <dsp:sp modelId="{50531140-9B2F-4579-80BD-1C713B74F6E7}">
      <dsp:nvSpPr>
        <dsp:cNvPr id="0" name=""/>
        <dsp:cNvSpPr/>
      </dsp:nvSpPr>
      <dsp:spPr>
        <a:xfrm>
          <a:off x="2681446" y="1511998"/>
          <a:ext cx="1914906" cy="9574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>
              <a:latin typeface="Helvetica"/>
              <a:cs typeface="Helvetica"/>
            </a:rPr>
            <a:t>MINED</a:t>
          </a:r>
          <a:endParaRPr lang="es-ES" sz="1400" kern="1200" dirty="0"/>
        </a:p>
      </dsp:txBody>
      <dsp:txXfrm>
        <a:off x="2709489" y="1540041"/>
        <a:ext cx="1858820" cy="901367"/>
      </dsp:txXfrm>
    </dsp:sp>
    <dsp:sp modelId="{D8CDF5A1-AA7E-4EDE-AF8C-DCC55BB1FCC1}">
      <dsp:nvSpPr>
        <dsp:cNvPr id="0" name=""/>
        <dsp:cNvSpPr/>
      </dsp:nvSpPr>
      <dsp:spPr>
        <a:xfrm>
          <a:off x="4596353" y="1969081"/>
          <a:ext cx="765962" cy="43286"/>
        </a:xfrm>
        <a:custGeom>
          <a:avLst/>
          <a:gdLst/>
          <a:ahLst/>
          <a:cxnLst/>
          <a:rect l="0" t="0" r="0" b="0"/>
          <a:pathLst>
            <a:path>
              <a:moveTo>
                <a:pt x="0" y="21643"/>
              </a:moveTo>
              <a:lnTo>
                <a:pt x="765962" y="216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960185" y="1971575"/>
        <a:ext cx="38298" cy="38298"/>
      </dsp:txXfrm>
    </dsp:sp>
    <dsp:sp modelId="{DED6FB85-E750-4F67-A23C-48C391747B23}">
      <dsp:nvSpPr>
        <dsp:cNvPr id="0" name=""/>
        <dsp:cNvSpPr/>
      </dsp:nvSpPr>
      <dsp:spPr>
        <a:xfrm>
          <a:off x="5362315" y="1511998"/>
          <a:ext cx="1914906" cy="95745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>
              <a:latin typeface="Helvetica"/>
              <a:cs typeface="Helvetica"/>
            </a:rPr>
            <a:t>ACADEMY(PAQUETE DE CAMBIOS)</a:t>
          </a:r>
          <a:endParaRPr lang="es-ES" sz="1400" kern="1200" dirty="0"/>
        </a:p>
      </dsp:txBody>
      <dsp:txXfrm>
        <a:off x="5390358" y="1540041"/>
        <a:ext cx="1858820" cy="90136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4EA502-D312-4759-B024-123BBF7E6FAF}">
      <dsp:nvSpPr>
        <dsp:cNvPr id="0" name=""/>
        <dsp:cNvSpPr/>
      </dsp:nvSpPr>
      <dsp:spPr>
        <a:xfrm>
          <a:off x="1073" y="1399095"/>
          <a:ext cx="1623807" cy="811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 dirty="0">
              <a:latin typeface="Helvetica"/>
              <a:cs typeface="Helvetica"/>
            </a:rPr>
            <a:t>LUIS</a:t>
          </a:r>
          <a:endParaRPr lang="es-ES" sz="1800" kern="1200" dirty="0"/>
        </a:p>
      </dsp:txBody>
      <dsp:txXfrm>
        <a:off x="24853" y="1422875"/>
        <a:ext cx="1576247" cy="764343"/>
      </dsp:txXfrm>
    </dsp:sp>
    <dsp:sp modelId="{0C0C5502-EBC3-4CA7-9BDF-3F5EE2A8AF7C}">
      <dsp:nvSpPr>
        <dsp:cNvPr id="0" name=""/>
        <dsp:cNvSpPr/>
      </dsp:nvSpPr>
      <dsp:spPr>
        <a:xfrm rot="18770822">
          <a:off x="1472082" y="1431666"/>
          <a:ext cx="955120" cy="46494"/>
        </a:xfrm>
        <a:custGeom>
          <a:avLst/>
          <a:gdLst/>
          <a:ahLst/>
          <a:cxnLst/>
          <a:rect l="0" t="0" r="0" b="0"/>
          <a:pathLst>
            <a:path>
              <a:moveTo>
                <a:pt x="0" y="23247"/>
              </a:moveTo>
              <a:lnTo>
                <a:pt x="955120" y="2324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1925764" y="1431035"/>
        <a:ext cx="47756" cy="47756"/>
      </dsp:txXfrm>
    </dsp:sp>
    <dsp:sp modelId="{50531140-9B2F-4579-80BD-1C713B74F6E7}">
      <dsp:nvSpPr>
        <dsp:cNvPr id="0" name=""/>
        <dsp:cNvSpPr/>
      </dsp:nvSpPr>
      <dsp:spPr>
        <a:xfrm>
          <a:off x="2274404" y="698828"/>
          <a:ext cx="1623807" cy="811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 dirty="0">
              <a:latin typeface="Helvetica"/>
              <a:cs typeface="Helvetica"/>
            </a:rPr>
            <a:t>MINED</a:t>
          </a:r>
          <a:endParaRPr lang="es-ES" sz="1800" kern="1200" dirty="0"/>
        </a:p>
      </dsp:txBody>
      <dsp:txXfrm>
        <a:off x="2298184" y="722608"/>
        <a:ext cx="1576247" cy="764343"/>
      </dsp:txXfrm>
    </dsp:sp>
    <dsp:sp modelId="{D8CDF5A1-AA7E-4EDE-AF8C-DCC55BB1FCC1}">
      <dsp:nvSpPr>
        <dsp:cNvPr id="0" name=""/>
        <dsp:cNvSpPr/>
      </dsp:nvSpPr>
      <dsp:spPr>
        <a:xfrm rot="19457599">
          <a:off x="3823028" y="848110"/>
          <a:ext cx="799890" cy="46494"/>
        </a:xfrm>
        <a:custGeom>
          <a:avLst/>
          <a:gdLst/>
          <a:ahLst/>
          <a:cxnLst/>
          <a:rect l="0" t="0" r="0" b="0"/>
          <a:pathLst>
            <a:path>
              <a:moveTo>
                <a:pt x="0" y="23247"/>
              </a:moveTo>
              <a:lnTo>
                <a:pt x="799890" y="2324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202976" y="851360"/>
        <a:ext cx="39994" cy="39994"/>
      </dsp:txXfrm>
    </dsp:sp>
    <dsp:sp modelId="{DED6FB85-E750-4F67-A23C-48C391747B23}">
      <dsp:nvSpPr>
        <dsp:cNvPr id="0" name=""/>
        <dsp:cNvSpPr/>
      </dsp:nvSpPr>
      <dsp:spPr>
        <a:xfrm>
          <a:off x="4547735" y="231983"/>
          <a:ext cx="1623807" cy="811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 dirty="0">
              <a:latin typeface="Helvetica"/>
              <a:cs typeface="Helvetica"/>
            </a:rPr>
            <a:t>CLOUD </a:t>
          </a:r>
        </a:p>
      </dsp:txBody>
      <dsp:txXfrm>
        <a:off x="4571515" y="255763"/>
        <a:ext cx="1576247" cy="764343"/>
      </dsp:txXfrm>
    </dsp:sp>
    <dsp:sp modelId="{C2959B0B-D261-43AF-9A3A-EC31F198A5ED}">
      <dsp:nvSpPr>
        <dsp:cNvPr id="0" name=""/>
        <dsp:cNvSpPr/>
      </dsp:nvSpPr>
      <dsp:spPr>
        <a:xfrm rot="2142401">
          <a:off x="3823028" y="1314955"/>
          <a:ext cx="799890" cy="46494"/>
        </a:xfrm>
        <a:custGeom>
          <a:avLst/>
          <a:gdLst/>
          <a:ahLst/>
          <a:cxnLst/>
          <a:rect l="0" t="0" r="0" b="0"/>
          <a:pathLst>
            <a:path>
              <a:moveTo>
                <a:pt x="0" y="23247"/>
              </a:moveTo>
              <a:lnTo>
                <a:pt x="799890" y="2324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202976" y="1318205"/>
        <a:ext cx="39994" cy="39994"/>
      </dsp:txXfrm>
    </dsp:sp>
    <dsp:sp modelId="{3E8C3637-0A97-4A56-8BA2-703F3A57D3A9}">
      <dsp:nvSpPr>
        <dsp:cNvPr id="0" name=""/>
        <dsp:cNvSpPr/>
      </dsp:nvSpPr>
      <dsp:spPr>
        <a:xfrm>
          <a:off x="4547735" y="1165673"/>
          <a:ext cx="1623807" cy="811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 dirty="0">
              <a:latin typeface="Helvetica"/>
              <a:cs typeface="Helvetica"/>
            </a:rPr>
            <a:t>BIMINED IOS</a:t>
          </a:r>
          <a:endParaRPr lang="es-ES" sz="1800" kern="1200" dirty="0"/>
        </a:p>
      </dsp:txBody>
      <dsp:txXfrm>
        <a:off x="4571515" y="1189453"/>
        <a:ext cx="1576247" cy="764343"/>
      </dsp:txXfrm>
    </dsp:sp>
    <dsp:sp modelId="{25878CD2-DD19-47C5-BF1C-9D40DF5DDAE9}">
      <dsp:nvSpPr>
        <dsp:cNvPr id="0" name=""/>
        <dsp:cNvSpPr/>
      </dsp:nvSpPr>
      <dsp:spPr>
        <a:xfrm rot="2829178">
          <a:off x="1472082" y="2131933"/>
          <a:ext cx="955120" cy="46494"/>
        </a:xfrm>
        <a:custGeom>
          <a:avLst/>
          <a:gdLst/>
          <a:ahLst/>
          <a:cxnLst/>
          <a:rect l="0" t="0" r="0" b="0"/>
          <a:pathLst>
            <a:path>
              <a:moveTo>
                <a:pt x="0" y="23247"/>
              </a:moveTo>
              <a:lnTo>
                <a:pt x="955120" y="2324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1925764" y="2131302"/>
        <a:ext cx="47756" cy="47756"/>
      </dsp:txXfrm>
    </dsp:sp>
    <dsp:sp modelId="{CC6642BA-AB04-4905-B21B-195278756BD2}">
      <dsp:nvSpPr>
        <dsp:cNvPr id="0" name=""/>
        <dsp:cNvSpPr/>
      </dsp:nvSpPr>
      <dsp:spPr>
        <a:xfrm>
          <a:off x="2274404" y="2099362"/>
          <a:ext cx="1623807" cy="811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 dirty="0">
              <a:latin typeface="Helvetica"/>
              <a:cs typeface="Helvetica"/>
            </a:rPr>
            <a:t>MICONNECT</a:t>
          </a:r>
        </a:p>
      </dsp:txBody>
      <dsp:txXfrm>
        <a:off x="2298184" y="2123142"/>
        <a:ext cx="1576247" cy="764343"/>
      </dsp:txXfrm>
    </dsp:sp>
    <dsp:sp modelId="{DC6BB208-3A3B-4141-BDB8-BBB373DB0806}">
      <dsp:nvSpPr>
        <dsp:cNvPr id="0" name=""/>
        <dsp:cNvSpPr/>
      </dsp:nvSpPr>
      <dsp:spPr>
        <a:xfrm>
          <a:off x="3898212" y="2482067"/>
          <a:ext cx="649523" cy="46494"/>
        </a:xfrm>
        <a:custGeom>
          <a:avLst/>
          <a:gdLst/>
          <a:ahLst/>
          <a:cxnLst/>
          <a:rect l="0" t="0" r="0" b="0"/>
          <a:pathLst>
            <a:path>
              <a:moveTo>
                <a:pt x="0" y="23247"/>
              </a:moveTo>
              <a:lnTo>
                <a:pt x="649523" y="2324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4206735" y="2489076"/>
        <a:ext cx="32476" cy="32476"/>
      </dsp:txXfrm>
    </dsp:sp>
    <dsp:sp modelId="{0A21FA8F-7867-4917-8A9C-586DE731899E}">
      <dsp:nvSpPr>
        <dsp:cNvPr id="0" name=""/>
        <dsp:cNvSpPr/>
      </dsp:nvSpPr>
      <dsp:spPr>
        <a:xfrm>
          <a:off x="4547735" y="2099362"/>
          <a:ext cx="1623807" cy="811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 dirty="0">
              <a:latin typeface="Helvetica"/>
              <a:cs typeface="Helvetica"/>
            </a:rPr>
            <a:t>PROBLEMAS PLATAFORMA</a:t>
          </a:r>
        </a:p>
      </dsp:txBody>
      <dsp:txXfrm>
        <a:off x="4571515" y="2123142"/>
        <a:ext cx="1576247" cy="7643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DDA913-6DFF-465D-B32F-3C74AD071404}">
      <dsp:nvSpPr>
        <dsp:cNvPr id="0" name=""/>
        <dsp:cNvSpPr/>
      </dsp:nvSpPr>
      <dsp:spPr>
        <a:xfrm>
          <a:off x="16630491" y="2928014"/>
          <a:ext cx="362235" cy="45400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40014"/>
              </a:lnTo>
              <a:lnTo>
                <a:pt x="362235" y="454001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13006C-A77A-45D7-9036-2AEAF4563F99}">
      <dsp:nvSpPr>
        <dsp:cNvPr id="0" name=""/>
        <dsp:cNvSpPr/>
      </dsp:nvSpPr>
      <dsp:spPr>
        <a:xfrm>
          <a:off x="16630491" y="2928014"/>
          <a:ext cx="362235" cy="28254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5434"/>
              </a:lnTo>
              <a:lnTo>
                <a:pt x="362235" y="282543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781013-32CE-447C-AA08-DCEBB0A1DCF6}">
      <dsp:nvSpPr>
        <dsp:cNvPr id="0" name=""/>
        <dsp:cNvSpPr/>
      </dsp:nvSpPr>
      <dsp:spPr>
        <a:xfrm>
          <a:off x="16630491" y="2928014"/>
          <a:ext cx="362235" cy="11108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10854"/>
              </a:lnTo>
              <a:lnTo>
                <a:pt x="362235" y="111085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11039B-9E53-4960-8749-6B2E2D304B8E}">
      <dsp:nvSpPr>
        <dsp:cNvPr id="0" name=""/>
        <dsp:cNvSpPr/>
      </dsp:nvSpPr>
      <dsp:spPr>
        <a:xfrm>
          <a:off x="10291375" y="1213434"/>
          <a:ext cx="7305076" cy="5071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3564"/>
              </a:lnTo>
              <a:lnTo>
                <a:pt x="7305076" y="253564"/>
              </a:lnTo>
              <a:lnTo>
                <a:pt x="7305076" y="50712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AA311D-0247-49B6-AA05-F9026F6D91DB}">
      <dsp:nvSpPr>
        <dsp:cNvPr id="0" name=""/>
        <dsp:cNvSpPr/>
      </dsp:nvSpPr>
      <dsp:spPr>
        <a:xfrm>
          <a:off x="13708460" y="2928014"/>
          <a:ext cx="362235" cy="7969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69174"/>
              </a:lnTo>
              <a:lnTo>
                <a:pt x="362235" y="796917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3D9EE4-902B-42B1-903F-9D17AEAE5754}">
      <dsp:nvSpPr>
        <dsp:cNvPr id="0" name=""/>
        <dsp:cNvSpPr/>
      </dsp:nvSpPr>
      <dsp:spPr>
        <a:xfrm>
          <a:off x="13708460" y="2928014"/>
          <a:ext cx="362235" cy="6254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54594"/>
              </a:lnTo>
              <a:lnTo>
                <a:pt x="362235" y="625459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548611-7A04-4D5C-AB90-6C10EAF7830B}">
      <dsp:nvSpPr>
        <dsp:cNvPr id="0" name=""/>
        <dsp:cNvSpPr/>
      </dsp:nvSpPr>
      <dsp:spPr>
        <a:xfrm>
          <a:off x="13708460" y="2928014"/>
          <a:ext cx="362235" cy="45400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40014"/>
              </a:lnTo>
              <a:lnTo>
                <a:pt x="362235" y="454001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5961DD-123F-47AB-AEFA-BDA8427B1161}">
      <dsp:nvSpPr>
        <dsp:cNvPr id="0" name=""/>
        <dsp:cNvSpPr/>
      </dsp:nvSpPr>
      <dsp:spPr>
        <a:xfrm>
          <a:off x="13708460" y="2928014"/>
          <a:ext cx="362235" cy="28254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5434"/>
              </a:lnTo>
              <a:lnTo>
                <a:pt x="362235" y="282543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C6AC2B-B0ED-424F-9FA2-D6D4C4A6A414}">
      <dsp:nvSpPr>
        <dsp:cNvPr id="0" name=""/>
        <dsp:cNvSpPr/>
      </dsp:nvSpPr>
      <dsp:spPr>
        <a:xfrm>
          <a:off x="13708460" y="2928014"/>
          <a:ext cx="362235" cy="11108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10854"/>
              </a:lnTo>
              <a:lnTo>
                <a:pt x="362235" y="111085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C2E87A-5A21-483C-BD3B-0DF66BF69BC8}">
      <dsp:nvSpPr>
        <dsp:cNvPr id="0" name=""/>
        <dsp:cNvSpPr/>
      </dsp:nvSpPr>
      <dsp:spPr>
        <a:xfrm>
          <a:off x="10291375" y="1213434"/>
          <a:ext cx="4383045" cy="5071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3564"/>
              </a:lnTo>
              <a:lnTo>
                <a:pt x="4383045" y="253564"/>
              </a:lnTo>
              <a:lnTo>
                <a:pt x="4383045" y="50712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B300C3-0D19-4DE7-98D1-D04851A9878A}">
      <dsp:nvSpPr>
        <dsp:cNvPr id="0" name=""/>
        <dsp:cNvSpPr/>
      </dsp:nvSpPr>
      <dsp:spPr>
        <a:xfrm>
          <a:off x="10786430" y="2928014"/>
          <a:ext cx="362235" cy="7969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69174"/>
              </a:lnTo>
              <a:lnTo>
                <a:pt x="362235" y="796917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AB63E4-BFA0-4F80-919C-7AC9383B3E94}">
      <dsp:nvSpPr>
        <dsp:cNvPr id="0" name=""/>
        <dsp:cNvSpPr/>
      </dsp:nvSpPr>
      <dsp:spPr>
        <a:xfrm>
          <a:off x="10786430" y="2928014"/>
          <a:ext cx="362235" cy="6254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54594"/>
              </a:lnTo>
              <a:lnTo>
                <a:pt x="362235" y="625459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4CEE927-2EAC-4BC9-86A2-4644B7D61174}">
      <dsp:nvSpPr>
        <dsp:cNvPr id="0" name=""/>
        <dsp:cNvSpPr/>
      </dsp:nvSpPr>
      <dsp:spPr>
        <a:xfrm>
          <a:off x="10786430" y="2928014"/>
          <a:ext cx="362235" cy="45400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40014"/>
              </a:lnTo>
              <a:lnTo>
                <a:pt x="362235" y="454001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1F8B47-7DB9-4D6B-AED7-0FAFB8248B55}">
      <dsp:nvSpPr>
        <dsp:cNvPr id="0" name=""/>
        <dsp:cNvSpPr/>
      </dsp:nvSpPr>
      <dsp:spPr>
        <a:xfrm>
          <a:off x="10786430" y="2928014"/>
          <a:ext cx="362235" cy="28254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5434"/>
              </a:lnTo>
              <a:lnTo>
                <a:pt x="362235" y="282543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A8D5DD-32A8-4748-9250-132C912FE24E}">
      <dsp:nvSpPr>
        <dsp:cNvPr id="0" name=""/>
        <dsp:cNvSpPr/>
      </dsp:nvSpPr>
      <dsp:spPr>
        <a:xfrm>
          <a:off x="10786430" y="2928014"/>
          <a:ext cx="362235" cy="11108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10854"/>
              </a:lnTo>
              <a:lnTo>
                <a:pt x="362235" y="111085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EFA9A1-6CA6-4941-8A47-8DE384814D70}">
      <dsp:nvSpPr>
        <dsp:cNvPr id="0" name=""/>
        <dsp:cNvSpPr/>
      </dsp:nvSpPr>
      <dsp:spPr>
        <a:xfrm>
          <a:off x="10291375" y="1213434"/>
          <a:ext cx="1461015" cy="5071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3564"/>
              </a:lnTo>
              <a:lnTo>
                <a:pt x="1461015" y="253564"/>
              </a:lnTo>
              <a:lnTo>
                <a:pt x="1461015" y="50712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729008-099D-4A08-A102-E60D944FC48F}">
      <dsp:nvSpPr>
        <dsp:cNvPr id="0" name=""/>
        <dsp:cNvSpPr/>
      </dsp:nvSpPr>
      <dsp:spPr>
        <a:xfrm>
          <a:off x="7864399" y="2928014"/>
          <a:ext cx="362235" cy="7969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69174"/>
              </a:lnTo>
              <a:lnTo>
                <a:pt x="362235" y="796917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976918-A4A3-4035-8D81-D56813684814}">
      <dsp:nvSpPr>
        <dsp:cNvPr id="0" name=""/>
        <dsp:cNvSpPr/>
      </dsp:nvSpPr>
      <dsp:spPr>
        <a:xfrm>
          <a:off x="7864399" y="2928014"/>
          <a:ext cx="362235" cy="6254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54594"/>
              </a:lnTo>
              <a:lnTo>
                <a:pt x="362235" y="625459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C0CF06-581E-418D-956C-690C200DE7F5}">
      <dsp:nvSpPr>
        <dsp:cNvPr id="0" name=""/>
        <dsp:cNvSpPr/>
      </dsp:nvSpPr>
      <dsp:spPr>
        <a:xfrm>
          <a:off x="7864399" y="2928014"/>
          <a:ext cx="362235" cy="45400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40014"/>
              </a:lnTo>
              <a:lnTo>
                <a:pt x="362235" y="454001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A8A821-8087-42F7-9157-793FE3A8F3D0}">
      <dsp:nvSpPr>
        <dsp:cNvPr id="0" name=""/>
        <dsp:cNvSpPr/>
      </dsp:nvSpPr>
      <dsp:spPr>
        <a:xfrm>
          <a:off x="7864399" y="2928014"/>
          <a:ext cx="362235" cy="28254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5434"/>
              </a:lnTo>
              <a:lnTo>
                <a:pt x="362235" y="282543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CD82EB-3CCE-41F0-A332-389CAD5C7562}">
      <dsp:nvSpPr>
        <dsp:cNvPr id="0" name=""/>
        <dsp:cNvSpPr/>
      </dsp:nvSpPr>
      <dsp:spPr>
        <a:xfrm>
          <a:off x="7864399" y="2928014"/>
          <a:ext cx="362235" cy="11108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10854"/>
              </a:lnTo>
              <a:lnTo>
                <a:pt x="362235" y="111085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5D9233-E922-480E-A546-C8C0865DBB32}">
      <dsp:nvSpPr>
        <dsp:cNvPr id="0" name=""/>
        <dsp:cNvSpPr/>
      </dsp:nvSpPr>
      <dsp:spPr>
        <a:xfrm>
          <a:off x="8830360" y="1213434"/>
          <a:ext cx="1461015" cy="507129"/>
        </a:xfrm>
        <a:custGeom>
          <a:avLst/>
          <a:gdLst/>
          <a:ahLst/>
          <a:cxnLst/>
          <a:rect l="0" t="0" r="0" b="0"/>
          <a:pathLst>
            <a:path>
              <a:moveTo>
                <a:pt x="1461015" y="0"/>
              </a:moveTo>
              <a:lnTo>
                <a:pt x="1461015" y="253564"/>
              </a:lnTo>
              <a:lnTo>
                <a:pt x="0" y="253564"/>
              </a:lnTo>
              <a:lnTo>
                <a:pt x="0" y="50712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A6D691-513F-4B68-BA69-C2FE3DF7CFCA}">
      <dsp:nvSpPr>
        <dsp:cNvPr id="0" name=""/>
        <dsp:cNvSpPr/>
      </dsp:nvSpPr>
      <dsp:spPr>
        <a:xfrm>
          <a:off x="4942368" y="2928014"/>
          <a:ext cx="362235" cy="7969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69174"/>
              </a:lnTo>
              <a:lnTo>
                <a:pt x="362235" y="796917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9CEBCB-3E07-4D52-B4A4-6B8EBED17822}">
      <dsp:nvSpPr>
        <dsp:cNvPr id="0" name=""/>
        <dsp:cNvSpPr/>
      </dsp:nvSpPr>
      <dsp:spPr>
        <a:xfrm>
          <a:off x="4942368" y="2928014"/>
          <a:ext cx="362235" cy="6254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54594"/>
              </a:lnTo>
              <a:lnTo>
                <a:pt x="362235" y="625459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E8509D-D200-4AD2-9176-BA1C925FA3FE}">
      <dsp:nvSpPr>
        <dsp:cNvPr id="0" name=""/>
        <dsp:cNvSpPr/>
      </dsp:nvSpPr>
      <dsp:spPr>
        <a:xfrm>
          <a:off x="4942368" y="2928014"/>
          <a:ext cx="362235" cy="45400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40014"/>
              </a:lnTo>
              <a:lnTo>
                <a:pt x="362235" y="454001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0B360D-8E56-41A6-A4EC-97B9C46F3B7F}">
      <dsp:nvSpPr>
        <dsp:cNvPr id="0" name=""/>
        <dsp:cNvSpPr/>
      </dsp:nvSpPr>
      <dsp:spPr>
        <a:xfrm>
          <a:off x="4942368" y="2928014"/>
          <a:ext cx="362235" cy="28254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5434"/>
              </a:lnTo>
              <a:lnTo>
                <a:pt x="362235" y="282543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03216B-8D19-4F7D-B157-A8C9FEF99D65}">
      <dsp:nvSpPr>
        <dsp:cNvPr id="0" name=""/>
        <dsp:cNvSpPr/>
      </dsp:nvSpPr>
      <dsp:spPr>
        <a:xfrm>
          <a:off x="4942368" y="2928014"/>
          <a:ext cx="362235" cy="11108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10854"/>
              </a:lnTo>
              <a:lnTo>
                <a:pt x="362235" y="111085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9DC523-A0FB-4625-8353-E7BE586ED17F}">
      <dsp:nvSpPr>
        <dsp:cNvPr id="0" name=""/>
        <dsp:cNvSpPr/>
      </dsp:nvSpPr>
      <dsp:spPr>
        <a:xfrm>
          <a:off x="5908329" y="1213434"/>
          <a:ext cx="4383045" cy="507129"/>
        </a:xfrm>
        <a:custGeom>
          <a:avLst/>
          <a:gdLst/>
          <a:ahLst/>
          <a:cxnLst/>
          <a:rect l="0" t="0" r="0" b="0"/>
          <a:pathLst>
            <a:path>
              <a:moveTo>
                <a:pt x="4383045" y="0"/>
              </a:moveTo>
              <a:lnTo>
                <a:pt x="4383045" y="253564"/>
              </a:lnTo>
              <a:lnTo>
                <a:pt x="0" y="253564"/>
              </a:lnTo>
              <a:lnTo>
                <a:pt x="0" y="50712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1E2125-ECD3-4E00-9CDA-024BDF2D0F09}">
      <dsp:nvSpPr>
        <dsp:cNvPr id="0" name=""/>
        <dsp:cNvSpPr/>
      </dsp:nvSpPr>
      <dsp:spPr>
        <a:xfrm>
          <a:off x="2020338" y="2928014"/>
          <a:ext cx="362235" cy="7969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69174"/>
              </a:lnTo>
              <a:lnTo>
                <a:pt x="362235" y="796917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50BE60-2BDA-4374-84D9-4687DCDD2EBC}">
      <dsp:nvSpPr>
        <dsp:cNvPr id="0" name=""/>
        <dsp:cNvSpPr/>
      </dsp:nvSpPr>
      <dsp:spPr>
        <a:xfrm>
          <a:off x="2020338" y="2928014"/>
          <a:ext cx="362235" cy="62545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54594"/>
              </a:lnTo>
              <a:lnTo>
                <a:pt x="362235" y="625459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8FC150-73BF-416D-A381-BD9D7ED3027A}">
      <dsp:nvSpPr>
        <dsp:cNvPr id="0" name=""/>
        <dsp:cNvSpPr/>
      </dsp:nvSpPr>
      <dsp:spPr>
        <a:xfrm>
          <a:off x="2020338" y="2928014"/>
          <a:ext cx="362235" cy="45400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40014"/>
              </a:lnTo>
              <a:lnTo>
                <a:pt x="362235" y="454001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18CFC6-EEC4-43C6-8E52-74048ADBECAB}">
      <dsp:nvSpPr>
        <dsp:cNvPr id="0" name=""/>
        <dsp:cNvSpPr/>
      </dsp:nvSpPr>
      <dsp:spPr>
        <a:xfrm>
          <a:off x="2020338" y="2928014"/>
          <a:ext cx="362235" cy="28254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5434"/>
              </a:lnTo>
              <a:lnTo>
                <a:pt x="362235" y="282543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F69E96-A327-470A-91D0-B9D87C73E236}">
      <dsp:nvSpPr>
        <dsp:cNvPr id="0" name=""/>
        <dsp:cNvSpPr/>
      </dsp:nvSpPr>
      <dsp:spPr>
        <a:xfrm>
          <a:off x="2020338" y="2928014"/>
          <a:ext cx="362235" cy="11108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10854"/>
              </a:lnTo>
              <a:lnTo>
                <a:pt x="362235" y="111085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707A64-0BF8-4865-8496-3A37C893985E}">
      <dsp:nvSpPr>
        <dsp:cNvPr id="0" name=""/>
        <dsp:cNvSpPr/>
      </dsp:nvSpPr>
      <dsp:spPr>
        <a:xfrm>
          <a:off x="2986298" y="1213434"/>
          <a:ext cx="7305076" cy="507129"/>
        </a:xfrm>
        <a:custGeom>
          <a:avLst/>
          <a:gdLst/>
          <a:ahLst/>
          <a:cxnLst/>
          <a:rect l="0" t="0" r="0" b="0"/>
          <a:pathLst>
            <a:path>
              <a:moveTo>
                <a:pt x="7305076" y="0"/>
              </a:moveTo>
              <a:lnTo>
                <a:pt x="7305076" y="253564"/>
              </a:lnTo>
              <a:lnTo>
                <a:pt x="0" y="253564"/>
              </a:lnTo>
              <a:lnTo>
                <a:pt x="0" y="50712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6E8638-6B43-4626-B2BC-6439D5CB6903}">
      <dsp:nvSpPr>
        <dsp:cNvPr id="0" name=""/>
        <dsp:cNvSpPr/>
      </dsp:nvSpPr>
      <dsp:spPr>
        <a:xfrm>
          <a:off x="9083924" y="598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PROYECTOS PRINCIPALES</a:t>
          </a:r>
        </a:p>
      </dsp:txBody>
      <dsp:txXfrm>
        <a:off x="9083924" y="5984"/>
        <a:ext cx="2414901" cy="1207450"/>
      </dsp:txXfrm>
    </dsp:sp>
    <dsp:sp modelId="{C0FF33DF-CA61-43D8-9567-8947149FFC4D}">
      <dsp:nvSpPr>
        <dsp:cNvPr id="0" name=""/>
        <dsp:cNvSpPr/>
      </dsp:nvSpPr>
      <dsp:spPr>
        <a:xfrm>
          <a:off x="1778848" y="172056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CAPECO - 2022</a:t>
          </a:r>
        </a:p>
      </dsp:txBody>
      <dsp:txXfrm>
        <a:off x="1778848" y="1720564"/>
        <a:ext cx="2414901" cy="1207450"/>
      </dsp:txXfrm>
    </dsp:sp>
    <dsp:sp modelId="{AA116131-4843-456E-94F9-5DA0799EF5AE}">
      <dsp:nvSpPr>
        <dsp:cNvPr id="0" name=""/>
        <dsp:cNvSpPr/>
      </dsp:nvSpPr>
      <dsp:spPr>
        <a:xfrm>
          <a:off x="2382573" y="343514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Carmen Abad</a:t>
          </a:r>
        </a:p>
      </dsp:txBody>
      <dsp:txXfrm>
        <a:off x="2382573" y="3435144"/>
        <a:ext cx="2414901" cy="1207450"/>
      </dsp:txXfrm>
    </dsp:sp>
    <dsp:sp modelId="{618E46EE-25E1-4888-AE7C-3C3332369B84}">
      <dsp:nvSpPr>
        <dsp:cNvPr id="0" name=""/>
        <dsp:cNvSpPr/>
      </dsp:nvSpPr>
      <dsp:spPr>
        <a:xfrm>
          <a:off x="2382573" y="514972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Pamela Rivas</a:t>
          </a:r>
        </a:p>
      </dsp:txBody>
      <dsp:txXfrm>
        <a:off x="2382573" y="5149724"/>
        <a:ext cx="2414901" cy="1207450"/>
      </dsp:txXfrm>
    </dsp:sp>
    <dsp:sp modelId="{8434FBF3-53CC-495E-BB1B-22FBDDBE30ED}">
      <dsp:nvSpPr>
        <dsp:cNvPr id="0" name=""/>
        <dsp:cNvSpPr/>
      </dsp:nvSpPr>
      <dsp:spPr>
        <a:xfrm>
          <a:off x="2382573" y="686430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Jhonatan Flores</a:t>
          </a:r>
        </a:p>
      </dsp:txBody>
      <dsp:txXfrm>
        <a:off x="2382573" y="6864304"/>
        <a:ext cx="2414901" cy="1207450"/>
      </dsp:txXfrm>
    </dsp:sp>
    <dsp:sp modelId="{E557D31B-FE7E-4CD7-9A79-5ADE246440F5}">
      <dsp:nvSpPr>
        <dsp:cNvPr id="0" name=""/>
        <dsp:cNvSpPr/>
      </dsp:nvSpPr>
      <dsp:spPr>
        <a:xfrm>
          <a:off x="2382573" y="857888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Antonio Tolosa</a:t>
          </a:r>
        </a:p>
      </dsp:txBody>
      <dsp:txXfrm>
        <a:off x="2382573" y="8578884"/>
        <a:ext cx="2414901" cy="1207450"/>
      </dsp:txXfrm>
    </dsp:sp>
    <dsp:sp modelId="{7F5BD868-3FB2-4432-B8E8-85AA2095AFDF}">
      <dsp:nvSpPr>
        <dsp:cNvPr id="0" name=""/>
        <dsp:cNvSpPr/>
      </dsp:nvSpPr>
      <dsp:spPr>
        <a:xfrm>
          <a:off x="2382573" y="1029346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Ariana</a:t>
          </a:r>
        </a:p>
      </dsp:txBody>
      <dsp:txXfrm>
        <a:off x="2382573" y="10293464"/>
        <a:ext cx="2414901" cy="1207450"/>
      </dsp:txXfrm>
    </dsp:sp>
    <dsp:sp modelId="{0E214E11-E023-42F0-949E-D4B5EE6BF00B}">
      <dsp:nvSpPr>
        <dsp:cNvPr id="0" name=""/>
        <dsp:cNvSpPr/>
      </dsp:nvSpPr>
      <dsp:spPr>
        <a:xfrm>
          <a:off x="4700878" y="172056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INTELICA - 2022</a:t>
          </a:r>
        </a:p>
      </dsp:txBody>
      <dsp:txXfrm>
        <a:off x="4700878" y="1720564"/>
        <a:ext cx="2414901" cy="1207450"/>
      </dsp:txXfrm>
    </dsp:sp>
    <dsp:sp modelId="{04855EF9-FF16-4EFE-927E-96BB0C8C3828}">
      <dsp:nvSpPr>
        <dsp:cNvPr id="0" name=""/>
        <dsp:cNvSpPr/>
      </dsp:nvSpPr>
      <dsp:spPr>
        <a:xfrm>
          <a:off x="5304604" y="343514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David Narvaez</a:t>
          </a:r>
        </a:p>
      </dsp:txBody>
      <dsp:txXfrm>
        <a:off x="5304604" y="3435144"/>
        <a:ext cx="2414901" cy="1207450"/>
      </dsp:txXfrm>
    </dsp:sp>
    <dsp:sp modelId="{B1BC0300-8519-43F8-9033-1E4D4898C3BD}">
      <dsp:nvSpPr>
        <dsp:cNvPr id="0" name=""/>
        <dsp:cNvSpPr/>
      </dsp:nvSpPr>
      <dsp:spPr>
        <a:xfrm>
          <a:off x="5304604" y="514972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Silvestre Acosta</a:t>
          </a:r>
        </a:p>
      </dsp:txBody>
      <dsp:txXfrm>
        <a:off x="5304604" y="5149724"/>
        <a:ext cx="2414901" cy="1207450"/>
      </dsp:txXfrm>
    </dsp:sp>
    <dsp:sp modelId="{8EFCE613-0888-43C3-A88B-CA08106F9803}">
      <dsp:nvSpPr>
        <dsp:cNvPr id="0" name=""/>
        <dsp:cNvSpPr/>
      </dsp:nvSpPr>
      <dsp:spPr>
        <a:xfrm>
          <a:off x="5304604" y="686430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Ruben Campos</a:t>
          </a:r>
        </a:p>
      </dsp:txBody>
      <dsp:txXfrm>
        <a:off x="5304604" y="6864304"/>
        <a:ext cx="2414901" cy="1207450"/>
      </dsp:txXfrm>
    </dsp:sp>
    <dsp:sp modelId="{997E4C9A-B4F3-4755-8B1F-D7881B3DF5B8}">
      <dsp:nvSpPr>
        <dsp:cNvPr id="0" name=""/>
        <dsp:cNvSpPr/>
      </dsp:nvSpPr>
      <dsp:spPr>
        <a:xfrm>
          <a:off x="5304604" y="857888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Leandro Coronel</a:t>
          </a:r>
        </a:p>
      </dsp:txBody>
      <dsp:txXfrm>
        <a:off x="5304604" y="8578884"/>
        <a:ext cx="2414901" cy="1207450"/>
      </dsp:txXfrm>
    </dsp:sp>
    <dsp:sp modelId="{FF131D10-19AD-4154-B757-6C588F327FEB}">
      <dsp:nvSpPr>
        <dsp:cNvPr id="0" name=""/>
        <dsp:cNvSpPr/>
      </dsp:nvSpPr>
      <dsp:spPr>
        <a:xfrm>
          <a:off x="5304604" y="1029346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 err="1"/>
            <a:t>Ivan</a:t>
          </a:r>
          <a:endParaRPr lang="es-PE" sz="1400" b="1" kern="1200" dirty="0"/>
        </a:p>
      </dsp:txBody>
      <dsp:txXfrm>
        <a:off x="5304604" y="10293464"/>
        <a:ext cx="2414901" cy="1207450"/>
      </dsp:txXfrm>
    </dsp:sp>
    <dsp:sp modelId="{C211D1E2-A010-4A2B-86E8-0F02FDA687CB}">
      <dsp:nvSpPr>
        <dsp:cNvPr id="0" name=""/>
        <dsp:cNvSpPr/>
      </dsp:nvSpPr>
      <dsp:spPr>
        <a:xfrm>
          <a:off x="7622909" y="172056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MINED – DSYO -2022</a:t>
          </a:r>
        </a:p>
      </dsp:txBody>
      <dsp:txXfrm>
        <a:off x="7622909" y="1720564"/>
        <a:ext cx="2414901" cy="1207450"/>
      </dsp:txXfrm>
    </dsp:sp>
    <dsp:sp modelId="{CF77B62D-BE7F-4AD1-9F37-2149EAB399EE}">
      <dsp:nvSpPr>
        <dsp:cNvPr id="0" name=""/>
        <dsp:cNvSpPr/>
      </dsp:nvSpPr>
      <dsp:spPr>
        <a:xfrm>
          <a:off x="8226634" y="343514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Luis Vasquez</a:t>
          </a:r>
        </a:p>
      </dsp:txBody>
      <dsp:txXfrm>
        <a:off x="8226634" y="3435144"/>
        <a:ext cx="2414901" cy="1207450"/>
      </dsp:txXfrm>
    </dsp:sp>
    <dsp:sp modelId="{234F20C3-CD42-405E-A603-8BE6F9855121}">
      <dsp:nvSpPr>
        <dsp:cNvPr id="0" name=""/>
        <dsp:cNvSpPr/>
      </dsp:nvSpPr>
      <dsp:spPr>
        <a:xfrm>
          <a:off x="8226634" y="514972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Emely Ambrosio</a:t>
          </a:r>
        </a:p>
      </dsp:txBody>
      <dsp:txXfrm>
        <a:off x="8226634" y="5149724"/>
        <a:ext cx="2414901" cy="1207450"/>
      </dsp:txXfrm>
    </dsp:sp>
    <dsp:sp modelId="{0ED1EE40-EC7B-41B3-BEC5-1AACA348A4BE}">
      <dsp:nvSpPr>
        <dsp:cNvPr id="0" name=""/>
        <dsp:cNvSpPr/>
      </dsp:nvSpPr>
      <dsp:spPr>
        <a:xfrm>
          <a:off x="8226634" y="686430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Jesus Salgado</a:t>
          </a:r>
        </a:p>
      </dsp:txBody>
      <dsp:txXfrm>
        <a:off x="8226634" y="6864304"/>
        <a:ext cx="2414901" cy="1207450"/>
      </dsp:txXfrm>
    </dsp:sp>
    <dsp:sp modelId="{E5FCAF91-3776-4CDC-ABCA-202708193120}">
      <dsp:nvSpPr>
        <dsp:cNvPr id="0" name=""/>
        <dsp:cNvSpPr/>
      </dsp:nvSpPr>
      <dsp:spPr>
        <a:xfrm>
          <a:off x="8226634" y="857888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 err="1"/>
            <a:t>Geancarlo</a:t>
          </a:r>
          <a:r>
            <a:rPr lang="es-PE" sz="1400" b="1" kern="1200" dirty="0"/>
            <a:t> Silvestre</a:t>
          </a:r>
        </a:p>
      </dsp:txBody>
      <dsp:txXfrm>
        <a:off x="8226634" y="8578884"/>
        <a:ext cx="2414901" cy="1207450"/>
      </dsp:txXfrm>
    </dsp:sp>
    <dsp:sp modelId="{C091B7E7-2F31-4DB8-990E-E618A35CC32F}">
      <dsp:nvSpPr>
        <dsp:cNvPr id="0" name=""/>
        <dsp:cNvSpPr/>
      </dsp:nvSpPr>
      <dsp:spPr>
        <a:xfrm>
          <a:off x="8226634" y="1029346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Walter Sosa</a:t>
          </a:r>
        </a:p>
      </dsp:txBody>
      <dsp:txXfrm>
        <a:off x="8226634" y="10293464"/>
        <a:ext cx="2414901" cy="1207450"/>
      </dsp:txXfrm>
    </dsp:sp>
    <dsp:sp modelId="{B3E31A91-F33C-4639-BCEB-413A151701C6}">
      <dsp:nvSpPr>
        <dsp:cNvPr id="0" name=""/>
        <dsp:cNvSpPr/>
      </dsp:nvSpPr>
      <dsp:spPr>
        <a:xfrm>
          <a:off x="10544939" y="172056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SIPAN – UPC - 2022</a:t>
          </a:r>
        </a:p>
      </dsp:txBody>
      <dsp:txXfrm>
        <a:off x="10544939" y="1720564"/>
        <a:ext cx="2414901" cy="1207450"/>
      </dsp:txXfrm>
    </dsp:sp>
    <dsp:sp modelId="{12A2836B-CA16-489E-97CC-34448E041DE7}">
      <dsp:nvSpPr>
        <dsp:cNvPr id="0" name=""/>
        <dsp:cNvSpPr/>
      </dsp:nvSpPr>
      <dsp:spPr>
        <a:xfrm>
          <a:off x="11148665" y="343514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Silvestre Acosta</a:t>
          </a:r>
        </a:p>
      </dsp:txBody>
      <dsp:txXfrm>
        <a:off x="11148665" y="3435144"/>
        <a:ext cx="2414901" cy="1207450"/>
      </dsp:txXfrm>
    </dsp:sp>
    <dsp:sp modelId="{B830D946-12F4-46DA-B377-60323B20C5B0}">
      <dsp:nvSpPr>
        <dsp:cNvPr id="0" name=""/>
        <dsp:cNvSpPr/>
      </dsp:nvSpPr>
      <dsp:spPr>
        <a:xfrm>
          <a:off x="11148665" y="514972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Giovanni F.</a:t>
          </a:r>
        </a:p>
      </dsp:txBody>
      <dsp:txXfrm>
        <a:off x="11148665" y="5149724"/>
        <a:ext cx="2414901" cy="1207450"/>
      </dsp:txXfrm>
    </dsp:sp>
    <dsp:sp modelId="{348BAFE5-7668-45FB-B549-E51156B62F13}">
      <dsp:nvSpPr>
        <dsp:cNvPr id="0" name=""/>
        <dsp:cNvSpPr/>
      </dsp:nvSpPr>
      <dsp:spPr>
        <a:xfrm>
          <a:off x="11148665" y="686430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Antonio Tolosa</a:t>
          </a:r>
        </a:p>
      </dsp:txBody>
      <dsp:txXfrm>
        <a:off x="11148665" y="6864304"/>
        <a:ext cx="2414901" cy="1207450"/>
      </dsp:txXfrm>
    </dsp:sp>
    <dsp:sp modelId="{D568A7A6-C940-4BF6-B5F1-425EC48869A3}">
      <dsp:nvSpPr>
        <dsp:cNvPr id="0" name=""/>
        <dsp:cNvSpPr/>
      </dsp:nvSpPr>
      <dsp:spPr>
        <a:xfrm>
          <a:off x="11148665" y="8578884"/>
          <a:ext cx="2414901" cy="1207450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Said</a:t>
          </a:r>
        </a:p>
      </dsp:txBody>
      <dsp:txXfrm>
        <a:off x="11148665" y="8578884"/>
        <a:ext cx="2414901" cy="1207450"/>
      </dsp:txXfrm>
    </dsp:sp>
    <dsp:sp modelId="{1160403C-2486-4FA7-93BF-C43A325034DE}">
      <dsp:nvSpPr>
        <dsp:cNvPr id="0" name=""/>
        <dsp:cNvSpPr/>
      </dsp:nvSpPr>
      <dsp:spPr>
        <a:xfrm>
          <a:off x="11148665" y="1029346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 err="1"/>
            <a:t>Andres</a:t>
          </a:r>
          <a:endParaRPr lang="es-PE" sz="1400" b="1" kern="1200" dirty="0"/>
        </a:p>
      </dsp:txBody>
      <dsp:txXfrm>
        <a:off x="11148665" y="10293464"/>
        <a:ext cx="2414901" cy="1207450"/>
      </dsp:txXfrm>
    </dsp:sp>
    <dsp:sp modelId="{D18BF322-C5F5-400E-96A5-15D71C5A8534}">
      <dsp:nvSpPr>
        <dsp:cNvPr id="0" name=""/>
        <dsp:cNvSpPr/>
      </dsp:nvSpPr>
      <dsp:spPr>
        <a:xfrm>
          <a:off x="13466970" y="172056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UCV – USIL Julio 2022</a:t>
          </a:r>
        </a:p>
      </dsp:txBody>
      <dsp:txXfrm>
        <a:off x="13466970" y="1720564"/>
        <a:ext cx="2414901" cy="1207450"/>
      </dsp:txXfrm>
    </dsp:sp>
    <dsp:sp modelId="{9F5E2FF3-9F9A-407A-802C-9A48D55E868E}">
      <dsp:nvSpPr>
        <dsp:cNvPr id="0" name=""/>
        <dsp:cNvSpPr/>
      </dsp:nvSpPr>
      <dsp:spPr>
        <a:xfrm>
          <a:off x="14070695" y="343514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Silvestre</a:t>
          </a:r>
        </a:p>
      </dsp:txBody>
      <dsp:txXfrm>
        <a:off x="14070695" y="3435144"/>
        <a:ext cx="2414901" cy="1207450"/>
      </dsp:txXfrm>
    </dsp:sp>
    <dsp:sp modelId="{CCF3C26E-5C9B-4B63-B81D-205FA58DBB1E}">
      <dsp:nvSpPr>
        <dsp:cNvPr id="0" name=""/>
        <dsp:cNvSpPr/>
      </dsp:nvSpPr>
      <dsp:spPr>
        <a:xfrm>
          <a:off x="14070695" y="514972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Kennedy Luna</a:t>
          </a:r>
        </a:p>
      </dsp:txBody>
      <dsp:txXfrm>
        <a:off x="14070695" y="5149724"/>
        <a:ext cx="2414901" cy="1207450"/>
      </dsp:txXfrm>
    </dsp:sp>
    <dsp:sp modelId="{3F4E5D73-5DC2-4BCC-A1A5-B6A6F7007855}">
      <dsp:nvSpPr>
        <dsp:cNvPr id="0" name=""/>
        <dsp:cNvSpPr/>
      </dsp:nvSpPr>
      <dsp:spPr>
        <a:xfrm>
          <a:off x="14070695" y="686430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Yakori Vallejos</a:t>
          </a:r>
        </a:p>
      </dsp:txBody>
      <dsp:txXfrm>
        <a:off x="14070695" y="6864304"/>
        <a:ext cx="2414901" cy="1207450"/>
      </dsp:txXfrm>
    </dsp:sp>
    <dsp:sp modelId="{74AE5827-C96B-441F-9BC9-B935166B288B}">
      <dsp:nvSpPr>
        <dsp:cNvPr id="0" name=""/>
        <dsp:cNvSpPr/>
      </dsp:nvSpPr>
      <dsp:spPr>
        <a:xfrm>
          <a:off x="14070695" y="8578884"/>
          <a:ext cx="2414901" cy="1207450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Jhonatan</a:t>
          </a:r>
        </a:p>
      </dsp:txBody>
      <dsp:txXfrm>
        <a:off x="14070695" y="8578884"/>
        <a:ext cx="2414901" cy="1207450"/>
      </dsp:txXfrm>
    </dsp:sp>
    <dsp:sp modelId="{BC934FE5-F520-44B9-98D6-4A2AF84EC165}">
      <dsp:nvSpPr>
        <dsp:cNvPr id="0" name=""/>
        <dsp:cNvSpPr/>
      </dsp:nvSpPr>
      <dsp:spPr>
        <a:xfrm>
          <a:off x="14070695" y="10293464"/>
          <a:ext cx="2414901" cy="1207450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 err="1"/>
            <a:t>Saidi</a:t>
          </a:r>
          <a:endParaRPr lang="es-PE" sz="1400" b="1" kern="1200" dirty="0"/>
        </a:p>
      </dsp:txBody>
      <dsp:txXfrm>
        <a:off x="14070695" y="10293464"/>
        <a:ext cx="2414901" cy="1207450"/>
      </dsp:txXfrm>
    </dsp:sp>
    <dsp:sp modelId="{3F307544-21A5-4422-A5D1-74880ECCFCCD}">
      <dsp:nvSpPr>
        <dsp:cNvPr id="0" name=""/>
        <dsp:cNvSpPr/>
      </dsp:nvSpPr>
      <dsp:spPr>
        <a:xfrm>
          <a:off x="16389001" y="172056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EDUCA  - SGS- 2022</a:t>
          </a:r>
        </a:p>
      </dsp:txBody>
      <dsp:txXfrm>
        <a:off x="16389001" y="1720564"/>
        <a:ext cx="2414901" cy="1207450"/>
      </dsp:txXfrm>
    </dsp:sp>
    <dsp:sp modelId="{A4223829-5044-4B88-AC56-89DA2CFB0ED7}">
      <dsp:nvSpPr>
        <dsp:cNvPr id="0" name=""/>
        <dsp:cNvSpPr/>
      </dsp:nvSpPr>
      <dsp:spPr>
        <a:xfrm>
          <a:off x="16992726" y="343514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Jordan</a:t>
          </a:r>
        </a:p>
      </dsp:txBody>
      <dsp:txXfrm>
        <a:off x="16992726" y="3435144"/>
        <a:ext cx="2414901" cy="1207450"/>
      </dsp:txXfrm>
    </dsp:sp>
    <dsp:sp modelId="{FE38CAAC-AA54-4D84-A304-95922ABE977E}">
      <dsp:nvSpPr>
        <dsp:cNvPr id="0" name=""/>
        <dsp:cNvSpPr/>
      </dsp:nvSpPr>
      <dsp:spPr>
        <a:xfrm>
          <a:off x="16992726" y="514972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Mijail</a:t>
          </a:r>
        </a:p>
      </dsp:txBody>
      <dsp:txXfrm>
        <a:off x="16992726" y="5149724"/>
        <a:ext cx="2414901" cy="1207450"/>
      </dsp:txXfrm>
    </dsp:sp>
    <dsp:sp modelId="{3B93419F-0BBF-4DE2-A032-BD9C95389D13}">
      <dsp:nvSpPr>
        <dsp:cNvPr id="0" name=""/>
        <dsp:cNvSpPr/>
      </dsp:nvSpPr>
      <dsp:spPr>
        <a:xfrm>
          <a:off x="16992726" y="6864304"/>
          <a:ext cx="2414901" cy="1207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400" b="1" kern="1200" dirty="0"/>
            <a:t>Tamara</a:t>
          </a:r>
        </a:p>
      </dsp:txBody>
      <dsp:txXfrm>
        <a:off x="16992726" y="6864304"/>
        <a:ext cx="2414901" cy="120745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A41F62-FAE9-43B9-9163-89540FD6DEC1}">
      <dsp:nvSpPr>
        <dsp:cNvPr id="0" name=""/>
        <dsp:cNvSpPr/>
      </dsp:nvSpPr>
      <dsp:spPr>
        <a:xfrm>
          <a:off x="11989055" y="7474846"/>
          <a:ext cx="6747528" cy="351757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Luis Vasquez :Líder</a:t>
          </a:r>
        </a:p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4090583" y="8431510"/>
        <a:ext cx="4568729" cy="2483641"/>
      </dsp:txXfrm>
    </dsp:sp>
    <dsp:sp modelId="{B4C96BEC-98F9-4EC5-AC0B-14E5BD424531}">
      <dsp:nvSpPr>
        <dsp:cNvPr id="0" name=""/>
        <dsp:cNvSpPr/>
      </dsp:nvSpPr>
      <dsp:spPr>
        <a:xfrm>
          <a:off x="3129163" y="7474846"/>
          <a:ext cx="6747528" cy="351757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ilvestre Acosta : Líder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Kennedy Luna : Carga y Reporte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aid : Soporte</a:t>
          </a:r>
        </a:p>
      </dsp:txBody>
      <dsp:txXfrm>
        <a:off x="3206433" y="8431510"/>
        <a:ext cx="4568729" cy="2483641"/>
      </dsp:txXfrm>
    </dsp:sp>
    <dsp:sp modelId="{2FE30161-5C60-466C-9BF5-CEFA31F54EA4}">
      <dsp:nvSpPr>
        <dsp:cNvPr id="0" name=""/>
        <dsp:cNvSpPr/>
      </dsp:nvSpPr>
      <dsp:spPr>
        <a:xfrm>
          <a:off x="11989055" y="0"/>
          <a:ext cx="6747528" cy="351757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Jhonatan Flores : Líder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ntonio Tolosa : Capacitación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riana : Soporte</a:t>
          </a:r>
        </a:p>
      </dsp:txBody>
      <dsp:txXfrm>
        <a:off x="14090583" y="77270"/>
        <a:ext cx="4568729" cy="2483641"/>
      </dsp:txXfrm>
    </dsp:sp>
    <dsp:sp modelId="{C29649C1-A21A-4DA3-B338-7BCE30F32902}">
      <dsp:nvSpPr>
        <dsp:cNvPr id="0" name=""/>
        <dsp:cNvSpPr/>
      </dsp:nvSpPr>
      <dsp:spPr>
        <a:xfrm>
          <a:off x="3129163" y="0"/>
          <a:ext cx="6747528" cy="351757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rmen Abad : Líder 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Pamela Rivas :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Account</a:t>
          </a: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 Manager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Veronica : Prospección</a:t>
          </a:r>
        </a:p>
      </dsp:txBody>
      <dsp:txXfrm>
        <a:off x="3206433" y="77270"/>
        <a:ext cx="4568729" cy="2483641"/>
      </dsp:txXfrm>
    </dsp:sp>
    <dsp:sp modelId="{048FFB3B-5C29-49EB-AAB3-FDFCE6B26557}">
      <dsp:nvSpPr>
        <dsp:cNvPr id="0" name=""/>
        <dsp:cNvSpPr/>
      </dsp:nvSpPr>
      <dsp:spPr>
        <a:xfrm>
          <a:off x="6063230" y="626568"/>
          <a:ext cx="4759718" cy="4759718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omercial : Prospección y Venta</a:t>
          </a:r>
        </a:p>
      </dsp:txBody>
      <dsp:txXfrm>
        <a:off x="7457319" y="2020657"/>
        <a:ext cx="3365629" cy="3365629"/>
      </dsp:txXfrm>
    </dsp:sp>
    <dsp:sp modelId="{59459A3E-2B79-4498-9275-243D04AC410B}">
      <dsp:nvSpPr>
        <dsp:cNvPr id="0" name=""/>
        <dsp:cNvSpPr/>
      </dsp:nvSpPr>
      <dsp:spPr>
        <a:xfrm rot="5400000">
          <a:off x="11042797" y="626568"/>
          <a:ext cx="4759718" cy="4759718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Operaciones : Auspiciadores y Subscriptores</a:t>
          </a:r>
        </a:p>
      </dsp:txBody>
      <dsp:txXfrm rot="-5400000">
        <a:off x="11042797" y="2020657"/>
        <a:ext cx="3365629" cy="3365629"/>
      </dsp:txXfrm>
    </dsp:sp>
    <dsp:sp modelId="{A3B16A58-2DDC-4772-A2E5-036D308AB6DA}">
      <dsp:nvSpPr>
        <dsp:cNvPr id="0" name=""/>
        <dsp:cNvSpPr/>
      </dsp:nvSpPr>
      <dsp:spPr>
        <a:xfrm rot="10800000">
          <a:off x="11042797" y="5606135"/>
          <a:ext cx="4759718" cy="4759718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sarrollo : Sistema captura datos APP y Web</a:t>
          </a:r>
        </a:p>
      </dsp:txBody>
      <dsp:txXfrm rot="10800000">
        <a:off x="11042797" y="5606135"/>
        <a:ext cx="3365629" cy="3365629"/>
      </dsp:txXfrm>
    </dsp:sp>
    <dsp:sp modelId="{075A8DE5-85A6-4DDB-8683-6AC871D00272}">
      <dsp:nvSpPr>
        <dsp:cNvPr id="0" name=""/>
        <dsp:cNvSpPr/>
      </dsp:nvSpPr>
      <dsp:spPr>
        <a:xfrm rot="16200000">
          <a:off x="6063230" y="5606135"/>
          <a:ext cx="4759718" cy="4759718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ata : Carga de Datos y Reportes PBI</a:t>
          </a:r>
        </a:p>
      </dsp:txBody>
      <dsp:txXfrm rot="5400000">
        <a:off x="7457319" y="5606135"/>
        <a:ext cx="3365629" cy="3365629"/>
      </dsp:txXfrm>
    </dsp:sp>
    <dsp:sp modelId="{2934D2CC-D2D2-4613-8CAD-C85CD795A0B6}">
      <dsp:nvSpPr>
        <dsp:cNvPr id="0" name=""/>
        <dsp:cNvSpPr/>
      </dsp:nvSpPr>
      <dsp:spPr>
        <a:xfrm>
          <a:off x="10111189" y="4506893"/>
          <a:ext cx="1643367" cy="1429014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12ADAD-FAEF-411D-AFA9-FF42E3FF5D3C}">
      <dsp:nvSpPr>
        <dsp:cNvPr id="0" name=""/>
        <dsp:cNvSpPr/>
      </dsp:nvSpPr>
      <dsp:spPr>
        <a:xfrm rot="10800000">
          <a:off x="10111189" y="5056514"/>
          <a:ext cx="1643367" cy="1429014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4D0629-8307-48D1-983E-19A89023459E}">
      <dsp:nvSpPr>
        <dsp:cNvPr id="0" name=""/>
        <dsp:cNvSpPr/>
      </dsp:nvSpPr>
      <dsp:spPr>
        <a:xfrm>
          <a:off x="0" y="8414460"/>
          <a:ext cx="19495699" cy="13804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atos (cronograma de trabajo) :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Silvesrte</a:t>
          </a: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 Acosta</a:t>
          </a:r>
        </a:p>
      </dsp:txBody>
      <dsp:txXfrm>
        <a:off x="0" y="8414460"/>
        <a:ext cx="19495699" cy="745449"/>
      </dsp:txXfrm>
    </dsp:sp>
    <dsp:sp modelId="{DEBFAFF2-398E-4993-B947-F97E616F6405}">
      <dsp:nvSpPr>
        <dsp:cNvPr id="0" name=""/>
        <dsp:cNvSpPr/>
      </dsp:nvSpPr>
      <dsp:spPr>
        <a:xfrm>
          <a:off x="951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cen la Base</a:t>
          </a:r>
        </a:p>
      </dsp:txBody>
      <dsp:txXfrm>
        <a:off x="9519" y="9132300"/>
        <a:ext cx="6492220" cy="635012"/>
      </dsp:txXfrm>
    </dsp:sp>
    <dsp:sp modelId="{635FF771-35C9-4403-A55A-FB31CB316DC3}">
      <dsp:nvSpPr>
        <dsp:cNvPr id="0" name=""/>
        <dsp:cNvSpPr/>
      </dsp:nvSpPr>
      <dsp:spPr>
        <a:xfrm>
          <a:off x="650173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etodología de recojo de datos en campo</a:t>
          </a:r>
        </a:p>
      </dsp:txBody>
      <dsp:txXfrm>
        <a:off x="6501739" y="9132300"/>
        <a:ext cx="6492220" cy="635012"/>
      </dsp:txXfrm>
    </dsp:sp>
    <dsp:sp modelId="{E20A101E-7118-4273-9932-D019582BC7E5}">
      <dsp:nvSpPr>
        <dsp:cNvPr id="0" name=""/>
        <dsp:cNvSpPr/>
      </dsp:nvSpPr>
      <dsp:spPr>
        <a:xfrm>
          <a:off x="1299395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cen los reportes</a:t>
          </a:r>
        </a:p>
      </dsp:txBody>
      <dsp:txXfrm>
        <a:off x="12993959" y="9132300"/>
        <a:ext cx="6492220" cy="635012"/>
      </dsp:txXfrm>
    </dsp:sp>
    <dsp:sp modelId="{AC2EE8B0-E87E-42A7-A10A-8C5F3FD4783F}">
      <dsp:nvSpPr>
        <dsp:cNvPr id="0" name=""/>
        <dsp:cNvSpPr/>
      </dsp:nvSpPr>
      <dsp:spPr>
        <a:xfrm rot="10800000">
          <a:off x="0" y="6312016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ervicios :  Carlos Vera, Carmen</a:t>
          </a:r>
        </a:p>
      </dsp:txBody>
      <dsp:txXfrm rot="-10800000">
        <a:off x="0" y="6312016"/>
        <a:ext cx="19495699" cy="745225"/>
      </dsp:txXfrm>
    </dsp:sp>
    <dsp:sp modelId="{007CFC69-67D0-405F-A6F8-03FBB5EBCBD4}">
      <dsp:nvSpPr>
        <dsp:cNvPr id="0" name=""/>
        <dsp:cNvSpPr/>
      </dsp:nvSpPr>
      <dsp:spPr>
        <a:xfrm>
          <a:off x="951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Nuevos reportes</a:t>
          </a:r>
        </a:p>
      </dsp:txBody>
      <dsp:txXfrm>
        <a:off x="9519" y="7057242"/>
        <a:ext cx="6492220" cy="634822"/>
      </dsp:txXfrm>
    </dsp:sp>
    <dsp:sp modelId="{D5A9615E-6D64-42C7-A7F4-7B2D96EEBF35}">
      <dsp:nvSpPr>
        <dsp:cNvPr id="0" name=""/>
        <dsp:cNvSpPr/>
      </dsp:nvSpPr>
      <dsp:spPr>
        <a:xfrm>
          <a:off x="650173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sarrollo</a:t>
          </a:r>
        </a:p>
      </dsp:txBody>
      <dsp:txXfrm>
        <a:off x="6501739" y="7057242"/>
        <a:ext cx="6492220" cy="634822"/>
      </dsp:txXfrm>
    </dsp:sp>
    <dsp:sp modelId="{2CE9A198-0D82-4501-923D-1C7A3202EBC9}">
      <dsp:nvSpPr>
        <dsp:cNvPr id="0" name=""/>
        <dsp:cNvSpPr/>
      </dsp:nvSpPr>
      <dsp:spPr>
        <a:xfrm>
          <a:off x="1299395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3D</a:t>
          </a:r>
        </a:p>
      </dsp:txBody>
      <dsp:txXfrm>
        <a:off x="12993959" y="7057242"/>
        <a:ext cx="6492220" cy="634822"/>
      </dsp:txXfrm>
    </dsp:sp>
    <dsp:sp modelId="{95AD91AD-CB62-4BD8-94F0-DFCC20ABD171}">
      <dsp:nvSpPr>
        <dsp:cNvPr id="0" name=""/>
        <dsp:cNvSpPr/>
      </dsp:nvSpPr>
      <dsp:spPr>
        <a:xfrm rot="10800000">
          <a:off x="0" y="4209572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ubscritores : Carlos Vera, Carmen, Pamela</a:t>
          </a:r>
        </a:p>
      </dsp:txBody>
      <dsp:txXfrm rot="-10800000">
        <a:off x="0" y="4209572"/>
        <a:ext cx="19495699" cy="745225"/>
      </dsp:txXfrm>
    </dsp:sp>
    <dsp:sp modelId="{9D8D2D06-5FB4-42DA-988C-D4400F8A15D7}">
      <dsp:nvSpPr>
        <dsp:cNvPr id="0" name=""/>
        <dsp:cNvSpPr/>
      </dsp:nvSpPr>
      <dsp:spPr>
        <a:xfrm>
          <a:off x="951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Propuesta nueva (que no encuentran)</a:t>
          </a:r>
        </a:p>
      </dsp:txBody>
      <dsp:txXfrm>
        <a:off x="9519" y="4954798"/>
        <a:ext cx="6492220" cy="634822"/>
      </dsp:txXfrm>
    </dsp:sp>
    <dsp:sp modelId="{757C85E8-B454-49CD-8F22-D3E9EB042994}">
      <dsp:nvSpPr>
        <dsp:cNvPr id="0" name=""/>
        <dsp:cNvSpPr/>
      </dsp:nvSpPr>
      <dsp:spPr>
        <a:xfrm>
          <a:off x="650173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Boletín y reportes</a:t>
          </a:r>
        </a:p>
      </dsp:txBody>
      <dsp:txXfrm>
        <a:off x="6501739" y="4954798"/>
        <a:ext cx="6492220" cy="634822"/>
      </dsp:txXfrm>
    </dsp:sp>
    <dsp:sp modelId="{49A26938-D933-49A6-8EA8-CC39758147BA}">
      <dsp:nvSpPr>
        <dsp:cNvPr id="0" name=""/>
        <dsp:cNvSpPr/>
      </dsp:nvSpPr>
      <dsp:spPr>
        <a:xfrm>
          <a:off x="1299395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Video comercial y notas </a:t>
          </a:r>
        </a:p>
      </dsp:txBody>
      <dsp:txXfrm>
        <a:off x="12993959" y="4954798"/>
        <a:ext cx="6492220" cy="634822"/>
      </dsp:txXfrm>
    </dsp:sp>
    <dsp:sp modelId="{DE4459A0-95C5-4725-9F03-9A0AD2F9926A}">
      <dsp:nvSpPr>
        <dsp:cNvPr id="0" name=""/>
        <dsp:cNvSpPr/>
      </dsp:nvSpPr>
      <dsp:spPr>
        <a:xfrm rot="10800000">
          <a:off x="0" y="2107128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Reportes Personalizados (2 empresas solo lo tienen) : Jhonatan, Kennedy, Antonio, Giovanni</a:t>
          </a:r>
        </a:p>
      </dsp:txBody>
      <dsp:txXfrm rot="-10800000">
        <a:off x="0" y="2107128"/>
        <a:ext cx="19495699" cy="745225"/>
      </dsp:txXfrm>
    </dsp:sp>
    <dsp:sp modelId="{B6AD687A-D1FE-4304-8D99-21A7AA53D287}">
      <dsp:nvSpPr>
        <dsp:cNvPr id="0" name=""/>
        <dsp:cNvSpPr/>
      </dsp:nvSpPr>
      <dsp:spPr>
        <a:xfrm>
          <a:off x="951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solidFill>
                <a:srgbClr val="00B050"/>
              </a:solidFill>
              <a:latin typeface="Roboto" panose="02000000000000000000" pitchFamily="2" charset="0"/>
              <a:ea typeface="Roboto" panose="02000000000000000000" pitchFamily="2" charset="0"/>
            </a:rPr>
            <a:t>Reportes por Auspiciador centralizadores (DSYO)</a:t>
          </a:r>
        </a:p>
      </dsp:txBody>
      <dsp:txXfrm>
        <a:off x="9519" y="2852354"/>
        <a:ext cx="6492220" cy="634822"/>
      </dsp:txXfrm>
    </dsp:sp>
    <dsp:sp modelId="{62EB7941-A74D-4F18-8DE5-485D8A2C4F3A}">
      <dsp:nvSpPr>
        <dsp:cNvPr id="0" name=""/>
        <dsp:cNvSpPr/>
      </dsp:nvSpPr>
      <dsp:spPr>
        <a:xfrm>
          <a:off x="650173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odelos de reporte (repositorio)</a:t>
          </a:r>
        </a:p>
      </dsp:txBody>
      <dsp:txXfrm>
        <a:off x="6501739" y="2852354"/>
        <a:ext cx="6492220" cy="634822"/>
      </dsp:txXfrm>
    </dsp:sp>
    <dsp:sp modelId="{CEB0F7B0-2A19-4F09-BDC3-8C3B0ACA1B28}">
      <dsp:nvSpPr>
        <dsp:cNvPr id="0" name=""/>
        <dsp:cNvSpPr/>
      </dsp:nvSpPr>
      <dsp:spPr>
        <a:xfrm>
          <a:off x="1299395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solidFill>
                <a:srgbClr val="00B050"/>
              </a:solidFill>
              <a:latin typeface="Roboto" panose="02000000000000000000" pitchFamily="2" charset="0"/>
              <a:ea typeface="Roboto" panose="02000000000000000000" pitchFamily="2" charset="0"/>
            </a:rPr>
            <a:t>Actualizar variables</a:t>
          </a:r>
        </a:p>
      </dsp:txBody>
      <dsp:txXfrm>
        <a:off x="12993959" y="2852354"/>
        <a:ext cx="6492220" cy="634822"/>
      </dsp:txXfrm>
    </dsp:sp>
    <dsp:sp modelId="{F88137AA-2751-494D-A2CA-74235065E832}">
      <dsp:nvSpPr>
        <dsp:cNvPr id="0" name=""/>
        <dsp:cNvSpPr/>
      </dsp:nvSpPr>
      <dsp:spPr>
        <a:xfrm rot="10800000">
          <a:off x="0" y="4684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pacitación : organizar cuando es subscriptores es por bloques por 5 (encuesta resumen) : Jhonatan, Kennedy, Antonio, Pamela</a:t>
          </a:r>
        </a:p>
      </dsp:txBody>
      <dsp:txXfrm rot="-10800000">
        <a:off x="0" y="4684"/>
        <a:ext cx="19495699" cy="745225"/>
      </dsp:txXfrm>
    </dsp:sp>
    <dsp:sp modelId="{0EDD97D6-9FCF-4BD4-9B78-0101DA09CB2A}">
      <dsp:nvSpPr>
        <dsp:cNvPr id="0" name=""/>
        <dsp:cNvSpPr/>
      </dsp:nvSpPr>
      <dsp:spPr>
        <a:xfrm>
          <a:off x="951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solidFill>
                <a:srgbClr val="00B050"/>
              </a:solidFill>
              <a:latin typeface="Roboto" panose="02000000000000000000" pitchFamily="2" charset="0"/>
              <a:ea typeface="Roboto" panose="02000000000000000000" pitchFamily="2" charset="0"/>
            </a:rPr>
            <a:t>Presentación o Video</a:t>
          </a:r>
        </a:p>
      </dsp:txBody>
      <dsp:txXfrm>
        <a:off x="9519" y="749910"/>
        <a:ext cx="6492220" cy="634822"/>
      </dsp:txXfrm>
    </dsp:sp>
    <dsp:sp modelId="{5B48657E-BE30-4828-B247-6BF8C67A5417}">
      <dsp:nvSpPr>
        <dsp:cNvPr id="0" name=""/>
        <dsp:cNvSpPr/>
      </dsp:nvSpPr>
      <dsp:spPr>
        <a:xfrm>
          <a:off x="650173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Encuesta satisfacción</a:t>
          </a:r>
        </a:p>
      </dsp:txBody>
      <dsp:txXfrm>
        <a:off x="6501739" y="749910"/>
        <a:ext cx="6492220" cy="634822"/>
      </dsp:txXfrm>
    </dsp:sp>
    <dsp:sp modelId="{775BC43A-FF86-4AE6-A97D-A464BAB13759}">
      <dsp:nvSpPr>
        <dsp:cNvPr id="0" name=""/>
        <dsp:cNvSpPr/>
      </dsp:nvSpPr>
      <dsp:spPr>
        <a:xfrm>
          <a:off x="1299395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aterial grabado</a:t>
          </a:r>
        </a:p>
      </dsp:txBody>
      <dsp:txXfrm>
        <a:off x="12993959" y="749910"/>
        <a:ext cx="6492220" cy="63482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A41F62-FAE9-43B9-9163-89540FD6DEC1}">
      <dsp:nvSpPr>
        <dsp:cNvPr id="0" name=""/>
        <dsp:cNvSpPr/>
      </dsp:nvSpPr>
      <dsp:spPr>
        <a:xfrm>
          <a:off x="11144281" y="6523870"/>
          <a:ext cx="5889083" cy="30700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Luis Vasquez :Líder</a:t>
          </a:r>
        </a:p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Jesus : Desarrollo </a:t>
          </a:r>
        </a:p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Ivan</a:t>
          </a: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 : Desarrollo</a:t>
          </a:r>
        </a:p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978445" y="7358823"/>
        <a:ext cx="3987480" cy="2167664"/>
      </dsp:txXfrm>
    </dsp:sp>
    <dsp:sp modelId="{B4C96BEC-98F9-4EC5-AC0B-14E5BD424531}">
      <dsp:nvSpPr>
        <dsp:cNvPr id="0" name=""/>
        <dsp:cNvSpPr/>
      </dsp:nvSpPr>
      <dsp:spPr>
        <a:xfrm>
          <a:off x="3411576" y="6523870"/>
          <a:ext cx="5889083" cy="30700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avid Narvaez :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Lider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aidy : Documentación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aid : Soporte</a:t>
          </a:r>
        </a:p>
      </dsp:txBody>
      <dsp:txXfrm>
        <a:off x="3479015" y="7358823"/>
        <a:ext cx="3987480" cy="2167664"/>
      </dsp:txXfrm>
    </dsp:sp>
    <dsp:sp modelId="{2FE30161-5C60-466C-9BF5-CEFA31F54EA4}">
      <dsp:nvSpPr>
        <dsp:cNvPr id="0" name=""/>
        <dsp:cNvSpPr/>
      </dsp:nvSpPr>
      <dsp:spPr>
        <a:xfrm>
          <a:off x="11144281" y="0"/>
          <a:ext cx="5889083" cy="30700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avid Narvaez : Líder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ilvestre Acosta : Arquitecto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Ruben Campos: Data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Engineer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Leandro :Data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Engineer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978445" y="67439"/>
        <a:ext cx="3987480" cy="2167664"/>
      </dsp:txXfrm>
    </dsp:sp>
    <dsp:sp modelId="{C29649C1-A21A-4DA3-B338-7BCE30F32902}">
      <dsp:nvSpPr>
        <dsp:cNvPr id="0" name=""/>
        <dsp:cNvSpPr/>
      </dsp:nvSpPr>
      <dsp:spPr>
        <a:xfrm>
          <a:off x="3411576" y="0"/>
          <a:ext cx="5889083" cy="30700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rlos Vera : Líder 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aniel Vento :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Account</a:t>
          </a: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 Manager</a:t>
          </a:r>
        </a:p>
      </dsp:txBody>
      <dsp:txXfrm>
        <a:off x="3479015" y="67439"/>
        <a:ext cx="3987480" cy="2167664"/>
      </dsp:txXfrm>
    </dsp:sp>
    <dsp:sp modelId="{048FFB3B-5C29-49EB-AAB3-FDFCE6B26557}">
      <dsp:nvSpPr>
        <dsp:cNvPr id="0" name=""/>
        <dsp:cNvSpPr/>
      </dsp:nvSpPr>
      <dsp:spPr>
        <a:xfrm>
          <a:off x="5972361" y="546853"/>
          <a:ext cx="4154170" cy="415417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omercial : Prospección y Venta</a:t>
          </a:r>
        </a:p>
      </dsp:txBody>
      <dsp:txXfrm>
        <a:off x="7189089" y="1763581"/>
        <a:ext cx="2937442" cy="2937442"/>
      </dsp:txXfrm>
    </dsp:sp>
    <dsp:sp modelId="{59459A3E-2B79-4498-9275-243D04AC410B}">
      <dsp:nvSpPr>
        <dsp:cNvPr id="0" name=""/>
        <dsp:cNvSpPr/>
      </dsp:nvSpPr>
      <dsp:spPr>
        <a:xfrm rot="5400000">
          <a:off x="10318410" y="546853"/>
          <a:ext cx="4154170" cy="415417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Operaciones : Motor de Cálculo</a:t>
          </a:r>
        </a:p>
      </dsp:txBody>
      <dsp:txXfrm rot="-5400000">
        <a:off x="10318410" y="1763581"/>
        <a:ext cx="2937442" cy="2937442"/>
      </dsp:txXfrm>
    </dsp:sp>
    <dsp:sp modelId="{A3B16A58-2DDC-4772-A2E5-036D308AB6DA}">
      <dsp:nvSpPr>
        <dsp:cNvPr id="0" name=""/>
        <dsp:cNvSpPr/>
      </dsp:nvSpPr>
      <dsp:spPr>
        <a:xfrm rot="10800000">
          <a:off x="10318410" y="4892902"/>
          <a:ext cx="4154170" cy="415417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sarrollo : Flujo y Automatización</a:t>
          </a:r>
        </a:p>
      </dsp:txBody>
      <dsp:txXfrm rot="10800000">
        <a:off x="10318410" y="4892902"/>
        <a:ext cx="2937442" cy="2937442"/>
      </dsp:txXfrm>
    </dsp:sp>
    <dsp:sp modelId="{075A8DE5-85A6-4DDB-8683-6AC871D00272}">
      <dsp:nvSpPr>
        <dsp:cNvPr id="0" name=""/>
        <dsp:cNvSpPr/>
      </dsp:nvSpPr>
      <dsp:spPr>
        <a:xfrm rot="16200000">
          <a:off x="5972361" y="4892902"/>
          <a:ext cx="4154170" cy="415417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ocumentación : Flujos y procesos</a:t>
          </a:r>
        </a:p>
      </dsp:txBody>
      <dsp:txXfrm rot="5400000">
        <a:off x="7189089" y="4892902"/>
        <a:ext cx="2937442" cy="2937442"/>
      </dsp:txXfrm>
    </dsp:sp>
    <dsp:sp modelId="{2934D2CC-D2D2-4613-8CAD-C85CD795A0B6}">
      <dsp:nvSpPr>
        <dsp:cNvPr id="0" name=""/>
        <dsp:cNvSpPr/>
      </dsp:nvSpPr>
      <dsp:spPr>
        <a:xfrm>
          <a:off x="9505324" y="3933510"/>
          <a:ext cx="1434292" cy="1247210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12ADAD-FAEF-411D-AFA9-FF42E3FF5D3C}">
      <dsp:nvSpPr>
        <dsp:cNvPr id="0" name=""/>
        <dsp:cNvSpPr/>
      </dsp:nvSpPr>
      <dsp:spPr>
        <a:xfrm rot="10800000">
          <a:off x="9505324" y="4413206"/>
          <a:ext cx="1434292" cy="1247210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4D0629-8307-48D1-983E-19A89023459E}">
      <dsp:nvSpPr>
        <dsp:cNvPr id="0" name=""/>
        <dsp:cNvSpPr/>
      </dsp:nvSpPr>
      <dsp:spPr>
        <a:xfrm>
          <a:off x="0" y="8414460"/>
          <a:ext cx="19495699" cy="13804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sarrollo Procesos Ejecutores</a:t>
          </a:r>
        </a:p>
      </dsp:txBody>
      <dsp:txXfrm>
        <a:off x="0" y="8414460"/>
        <a:ext cx="19495699" cy="745449"/>
      </dsp:txXfrm>
    </dsp:sp>
    <dsp:sp modelId="{DEBFAFF2-398E-4993-B947-F97E616F6405}">
      <dsp:nvSpPr>
        <dsp:cNvPr id="0" name=""/>
        <dsp:cNvSpPr/>
      </dsp:nvSpPr>
      <dsp:spPr>
        <a:xfrm>
          <a:off x="951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9519" y="9132300"/>
        <a:ext cx="6492220" cy="635012"/>
      </dsp:txXfrm>
    </dsp:sp>
    <dsp:sp modelId="{635FF771-35C9-4403-A55A-FB31CB316DC3}">
      <dsp:nvSpPr>
        <dsp:cNvPr id="0" name=""/>
        <dsp:cNvSpPr/>
      </dsp:nvSpPr>
      <dsp:spPr>
        <a:xfrm>
          <a:off x="650173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6501739" y="9132300"/>
        <a:ext cx="6492220" cy="635012"/>
      </dsp:txXfrm>
    </dsp:sp>
    <dsp:sp modelId="{E20A101E-7118-4273-9932-D019582BC7E5}">
      <dsp:nvSpPr>
        <dsp:cNvPr id="0" name=""/>
        <dsp:cNvSpPr/>
      </dsp:nvSpPr>
      <dsp:spPr>
        <a:xfrm>
          <a:off x="1299395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993959" y="9132300"/>
        <a:ext cx="6492220" cy="635012"/>
      </dsp:txXfrm>
    </dsp:sp>
    <dsp:sp modelId="{AC2EE8B0-E87E-42A7-A10A-8C5F3FD4783F}">
      <dsp:nvSpPr>
        <dsp:cNvPr id="0" name=""/>
        <dsp:cNvSpPr/>
      </dsp:nvSpPr>
      <dsp:spPr>
        <a:xfrm rot="10800000">
          <a:off x="0" y="6312016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Flujo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Mstercard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 rot="-10800000">
        <a:off x="0" y="6312016"/>
        <a:ext cx="19495699" cy="745225"/>
      </dsp:txXfrm>
    </dsp:sp>
    <dsp:sp modelId="{007CFC69-67D0-405F-A6F8-03FBB5EBCBD4}">
      <dsp:nvSpPr>
        <dsp:cNvPr id="0" name=""/>
        <dsp:cNvSpPr/>
      </dsp:nvSpPr>
      <dsp:spPr>
        <a:xfrm>
          <a:off x="951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9519" y="7057242"/>
        <a:ext cx="6492220" cy="634822"/>
      </dsp:txXfrm>
    </dsp:sp>
    <dsp:sp modelId="{D5A9615E-6D64-42C7-A7F4-7B2D96EEBF35}">
      <dsp:nvSpPr>
        <dsp:cNvPr id="0" name=""/>
        <dsp:cNvSpPr/>
      </dsp:nvSpPr>
      <dsp:spPr>
        <a:xfrm>
          <a:off x="650173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6501739" y="7057242"/>
        <a:ext cx="6492220" cy="634822"/>
      </dsp:txXfrm>
    </dsp:sp>
    <dsp:sp modelId="{2CE9A198-0D82-4501-923D-1C7A3202EBC9}">
      <dsp:nvSpPr>
        <dsp:cNvPr id="0" name=""/>
        <dsp:cNvSpPr/>
      </dsp:nvSpPr>
      <dsp:spPr>
        <a:xfrm>
          <a:off x="1299395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993959" y="7057242"/>
        <a:ext cx="6492220" cy="634822"/>
      </dsp:txXfrm>
    </dsp:sp>
    <dsp:sp modelId="{95AD91AD-CB62-4BD8-94F0-DFCC20ABD171}">
      <dsp:nvSpPr>
        <dsp:cNvPr id="0" name=""/>
        <dsp:cNvSpPr/>
      </dsp:nvSpPr>
      <dsp:spPr>
        <a:xfrm rot="10800000">
          <a:off x="0" y="4209572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Flujo Visa</a:t>
          </a:r>
        </a:p>
      </dsp:txBody>
      <dsp:txXfrm rot="-10800000">
        <a:off x="0" y="4209572"/>
        <a:ext cx="19495699" cy="745225"/>
      </dsp:txXfrm>
    </dsp:sp>
    <dsp:sp modelId="{9D8D2D06-5FB4-42DA-988C-D4400F8A15D7}">
      <dsp:nvSpPr>
        <dsp:cNvPr id="0" name=""/>
        <dsp:cNvSpPr/>
      </dsp:nvSpPr>
      <dsp:spPr>
        <a:xfrm>
          <a:off x="951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9519" y="4954798"/>
        <a:ext cx="6492220" cy="634822"/>
      </dsp:txXfrm>
    </dsp:sp>
    <dsp:sp modelId="{757C85E8-B454-49CD-8F22-D3E9EB042994}">
      <dsp:nvSpPr>
        <dsp:cNvPr id="0" name=""/>
        <dsp:cNvSpPr/>
      </dsp:nvSpPr>
      <dsp:spPr>
        <a:xfrm>
          <a:off x="650173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6501739" y="4954798"/>
        <a:ext cx="6492220" cy="634822"/>
      </dsp:txXfrm>
    </dsp:sp>
    <dsp:sp modelId="{49A26938-D933-49A6-8EA8-CC39758147BA}">
      <dsp:nvSpPr>
        <dsp:cNvPr id="0" name=""/>
        <dsp:cNvSpPr/>
      </dsp:nvSpPr>
      <dsp:spPr>
        <a:xfrm>
          <a:off x="1299395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993959" y="4954798"/>
        <a:ext cx="6492220" cy="634822"/>
      </dsp:txXfrm>
    </dsp:sp>
    <dsp:sp modelId="{DE4459A0-95C5-4725-9F03-9A0AD2F9926A}">
      <dsp:nvSpPr>
        <dsp:cNvPr id="0" name=""/>
        <dsp:cNvSpPr/>
      </dsp:nvSpPr>
      <dsp:spPr>
        <a:xfrm rot="10800000">
          <a:off x="0" y="2107128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sarrollo</a:t>
          </a:r>
        </a:p>
      </dsp:txBody>
      <dsp:txXfrm rot="-10800000">
        <a:off x="0" y="2107128"/>
        <a:ext cx="19495699" cy="745225"/>
      </dsp:txXfrm>
    </dsp:sp>
    <dsp:sp modelId="{B6AD687A-D1FE-4304-8D99-21A7AA53D287}">
      <dsp:nvSpPr>
        <dsp:cNvPr id="0" name=""/>
        <dsp:cNvSpPr/>
      </dsp:nvSpPr>
      <dsp:spPr>
        <a:xfrm>
          <a:off x="951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rga Archivos</a:t>
          </a:r>
        </a:p>
      </dsp:txBody>
      <dsp:txXfrm>
        <a:off x="9519" y="2852354"/>
        <a:ext cx="6492220" cy="634822"/>
      </dsp:txXfrm>
    </dsp:sp>
    <dsp:sp modelId="{62EB7941-A74D-4F18-8DE5-485D8A2C4F3A}">
      <dsp:nvSpPr>
        <dsp:cNvPr id="0" name=""/>
        <dsp:cNvSpPr/>
      </dsp:nvSpPr>
      <dsp:spPr>
        <a:xfrm>
          <a:off x="650173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Flujo Visa</a:t>
          </a:r>
        </a:p>
      </dsp:txBody>
      <dsp:txXfrm>
        <a:off x="6501739" y="2852354"/>
        <a:ext cx="6492220" cy="634822"/>
      </dsp:txXfrm>
    </dsp:sp>
    <dsp:sp modelId="{CEB0F7B0-2A19-4F09-BDC3-8C3B0ACA1B28}">
      <dsp:nvSpPr>
        <dsp:cNvPr id="0" name=""/>
        <dsp:cNvSpPr/>
      </dsp:nvSpPr>
      <dsp:spPr>
        <a:xfrm>
          <a:off x="1299395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Flujo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Martercard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993959" y="2852354"/>
        <a:ext cx="6492220" cy="634822"/>
      </dsp:txXfrm>
    </dsp:sp>
    <dsp:sp modelId="{F88137AA-2751-494D-A2CA-74235065E832}">
      <dsp:nvSpPr>
        <dsp:cNvPr id="0" name=""/>
        <dsp:cNvSpPr/>
      </dsp:nvSpPr>
      <dsp:spPr>
        <a:xfrm rot="10800000">
          <a:off x="0" y="4684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pacitación : Análisis de proceso</a:t>
          </a:r>
        </a:p>
      </dsp:txBody>
      <dsp:txXfrm rot="-10800000">
        <a:off x="0" y="4684"/>
        <a:ext cx="19495699" cy="745225"/>
      </dsp:txXfrm>
    </dsp:sp>
    <dsp:sp modelId="{0EDD97D6-9FCF-4BD4-9B78-0101DA09CB2A}">
      <dsp:nvSpPr>
        <dsp:cNvPr id="0" name=""/>
        <dsp:cNvSpPr/>
      </dsp:nvSpPr>
      <dsp:spPr>
        <a:xfrm>
          <a:off x="951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Flujo Macro (Miro)</a:t>
          </a:r>
        </a:p>
      </dsp:txBody>
      <dsp:txXfrm>
        <a:off x="9519" y="749910"/>
        <a:ext cx="6492220" cy="634822"/>
      </dsp:txXfrm>
    </dsp:sp>
    <dsp:sp modelId="{5B48657E-BE30-4828-B247-6BF8C67A5417}">
      <dsp:nvSpPr>
        <dsp:cNvPr id="0" name=""/>
        <dsp:cNvSpPr/>
      </dsp:nvSpPr>
      <dsp:spPr>
        <a:xfrm>
          <a:off x="650173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talle por Visa</a:t>
          </a:r>
        </a:p>
      </dsp:txBody>
      <dsp:txXfrm>
        <a:off x="6501739" y="749910"/>
        <a:ext cx="6492220" cy="634822"/>
      </dsp:txXfrm>
    </dsp:sp>
    <dsp:sp modelId="{775BC43A-FF86-4AE6-A97D-A464BAB13759}">
      <dsp:nvSpPr>
        <dsp:cNvPr id="0" name=""/>
        <dsp:cNvSpPr/>
      </dsp:nvSpPr>
      <dsp:spPr>
        <a:xfrm>
          <a:off x="1299395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talle por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Mastercard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993959" y="749910"/>
        <a:ext cx="6492220" cy="63482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A41F62-FAE9-43B9-9163-89540FD6DEC1}">
      <dsp:nvSpPr>
        <dsp:cNvPr id="0" name=""/>
        <dsp:cNvSpPr/>
      </dsp:nvSpPr>
      <dsp:spPr>
        <a:xfrm>
          <a:off x="11420192" y="7050886"/>
          <a:ext cx="6364820" cy="3318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Luis Vasquez :Líder</a:t>
          </a:r>
        </a:p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Jesus : Desarrollo </a:t>
          </a:r>
        </a:p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Giancarlo : Desarrollo</a:t>
          </a:r>
        </a:p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3402525" y="7953289"/>
        <a:ext cx="4309600" cy="2342774"/>
      </dsp:txXfrm>
    </dsp:sp>
    <dsp:sp modelId="{B4C96BEC-98F9-4EC5-AC0B-14E5BD424531}">
      <dsp:nvSpPr>
        <dsp:cNvPr id="0" name=""/>
        <dsp:cNvSpPr/>
      </dsp:nvSpPr>
      <dsp:spPr>
        <a:xfrm>
          <a:off x="3062817" y="7050886"/>
          <a:ext cx="6364820" cy="3318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aniel Vento :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Lider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aidy : Documentación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aid : Soporte</a:t>
          </a:r>
        </a:p>
      </dsp:txBody>
      <dsp:txXfrm>
        <a:off x="3135704" y="7953289"/>
        <a:ext cx="4309600" cy="2342774"/>
      </dsp:txXfrm>
    </dsp:sp>
    <dsp:sp modelId="{2FE30161-5C60-466C-9BF5-CEFA31F54EA4}">
      <dsp:nvSpPr>
        <dsp:cNvPr id="0" name=""/>
        <dsp:cNvSpPr/>
      </dsp:nvSpPr>
      <dsp:spPr>
        <a:xfrm>
          <a:off x="11420192" y="0"/>
          <a:ext cx="6364820" cy="3318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Luis Vasquez :Líder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Emely : Desarrollo 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3402525" y="72887"/>
        <a:ext cx="4309600" cy="2342774"/>
      </dsp:txXfrm>
    </dsp:sp>
    <dsp:sp modelId="{C29649C1-A21A-4DA3-B338-7BCE30F32902}">
      <dsp:nvSpPr>
        <dsp:cNvPr id="0" name=""/>
        <dsp:cNvSpPr/>
      </dsp:nvSpPr>
      <dsp:spPr>
        <a:xfrm>
          <a:off x="3062817" y="0"/>
          <a:ext cx="6364820" cy="3318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rlos Vera : Líder 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aniel Vento :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Account</a:t>
          </a: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 Manager</a:t>
          </a:r>
        </a:p>
      </dsp:txBody>
      <dsp:txXfrm>
        <a:off x="3135704" y="72887"/>
        <a:ext cx="4309600" cy="2342774"/>
      </dsp:txXfrm>
    </dsp:sp>
    <dsp:sp modelId="{048FFB3B-5C29-49EB-AAB3-FDFCE6B26557}">
      <dsp:nvSpPr>
        <dsp:cNvPr id="0" name=""/>
        <dsp:cNvSpPr/>
      </dsp:nvSpPr>
      <dsp:spPr>
        <a:xfrm>
          <a:off x="5830469" y="591030"/>
          <a:ext cx="4489755" cy="448975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omercial : Apps y Soluciones</a:t>
          </a:r>
        </a:p>
      </dsp:txBody>
      <dsp:txXfrm>
        <a:off x="7145488" y="1906049"/>
        <a:ext cx="3174736" cy="3174736"/>
      </dsp:txXfrm>
    </dsp:sp>
    <dsp:sp modelId="{59459A3E-2B79-4498-9275-243D04AC410B}">
      <dsp:nvSpPr>
        <dsp:cNvPr id="0" name=""/>
        <dsp:cNvSpPr/>
      </dsp:nvSpPr>
      <dsp:spPr>
        <a:xfrm rot="5400000">
          <a:off x="10527604" y="591030"/>
          <a:ext cx="4489755" cy="448975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sarrollo Apps: IOS y Android</a:t>
          </a:r>
        </a:p>
      </dsp:txBody>
      <dsp:txXfrm rot="-5400000">
        <a:off x="10527604" y="1906049"/>
        <a:ext cx="3174736" cy="3174736"/>
      </dsp:txXfrm>
    </dsp:sp>
    <dsp:sp modelId="{A3B16A58-2DDC-4772-A2E5-036D308AB6DA}">
      <dsp:nvSpPr>
        <dsp:cNvPr id="0" name=""/>
        <dsp:cNvSpPr/>
      </dsp:nvSpPr>
      <dsp:spPr>
        <a:xfrm rot="10800000">
          <a:off x="10527604" y="5288165"/>
          <a:ext cx="4489755" cy="448975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sarrollo : PHP y Python</a:t>
          </a:r>
        </a:p>
      </dsp:txBody>
      <dsp:txXfrm rot="10800000">
        <a:off x="10527604" y="5288165"/>
        <a:ext cx="3174736" cy="3174736"/>
      </dsp:txXfrm>
    </dsp:sp>
    <dsp:sp modelId="{075A8DE5-85A6-4DDB-8683-6AC871D00272}">
      <dsp:nvSpPr>
        <dsp:cNvPr id="0" name=""/>
        <dsp:cNvSpPr/>
      </dsp:nvSpPr>
      <dsp:spPr>
        <a:xfrm rot="16200000">
          <a:off x="5830469" y="5288165"/>
          <a:ext cx="4489755" cy="448975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ocumentación : Flujos y procesos</a:t>
          </a:r>
        </a:p>
      </dsp:txBody>
      <dsp:txXfrm rot="5400000">
        <a:off x="7145488" y="5288165"/>
        <a:ext cx="3174736" cy="3174736"/>
      </dsp:txXfrm>
    </dsp:sp>
    <dsp:sp modelId="{2934D2CC-D2D2-4613-8CAD-C85CD795A0B6}">
      <dsp:nvSpPr>
        <dsp:cNvPr id="0" name=""/>
        <dsp:cNvSpPr/>
      </dsp:nvSpPr>
      <dsp:spPr>
        <a:xfrm>
          <a:off x="9648835" y="4251269"/>
          <a:ext cx="1550158" cy="1347963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12ADAD-FAEF-411D-AFA9-FF42E3FF5D3C}">
      <dsp:nvSpPr>
        <dsp:cNvPr id="0" name=""/>
        <dsp:cNvSpPr/>
      </dsp:nvSpPr>
      <dsp:spPr>
        <a:xfrm rot="10800000">
          <a:off x="9648835" y="4769717"/>
          <a:ext cx="1550158" cy="1347963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4D0629-8307-48D1-983E-19A89023459E}">
      <dsp:nvSpPr>
        <dsp:cNvPr id="0" name=""/>
        <dsp:cNvSpPr/>
      </dsp:nvSpPr>
      <dsp:spPr>
        <a:xfrm>
          <a:off x="0" y="8414460"/>
          <a:ext cx="19495699" cy="13804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Nuevos Requerimientos</a:t>
          </a:r>
        </a:p>
      </dsp:txBody>
      <dsp:txXfrm>
        <a:off x="0" y="8414460"/>
        <a:ext cx="19495699" cy="745449"/>
      </dsp:txXfrm>
    </dsp:sp>
    <dsp:sp modelId="{DEBFAFF2-398E-4993-B947-F97E616F6405}">
      <dsp:nvSpPr>
        <dsp:cNvPr id="0" name=""/>
        <dsp:cNvSpPr/>
      </dsp:nvSpPr>
      <dsp:spPr>
        <a:xfrm>
          <a:off x="951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cen la Base</a:t>
          </a:r>
        </a:p>
      </dsp:txBody>
      <dsp:txXfrm>
        <a:off x="9519" y="9132300"/>
        <a:ext cx="6492220" cy="635012"/>
      </dsp:txXfrm>
    </dsp:sp>
    <dsp:sp modelId="{635FF771-35C9-4403-A55A-FB31CB316DC3}">
      <dsp:nvSpPr>
        <dsp:cNvPr id="0" name=""/>
        <dsp:cNvSpPr/>
      </dsp:nvSpPr>
      <dsp:spPr>
        <a:xfrm>
          <a:off x="650173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etodología de recojo de datos en campo</a:t>
          </a:r>
        </a:p>
      </dsp:txBody>
      <dsp:txXfrm>
        <a:off x="6501739" y="9132300"/>
        <a:ext cx="6492220" cy="635012"/>
      </dsp:txXfrm>
    </dsp:sp>
    <dsp:sp modelId="{E20A101E-7118-4273-9932-D019582BC7E5}">
      <dsp:nvSpPr>
        <dsp:cNvPr id="0" name=""/>
        <dsp:cNvSpPr/>
      </dsp:nvSpPr>
      <dsp:spPr>
        <a:xfrm>
          <a:off x="12993959" y="9132300"/>
          <a:ext cx="6492220" cy="6350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cen los reportes</a:t>
          </a:r>
        </a:p>
      </dsp:txBody>
      <dsp:txXfrm>
        <a:off x="12993959" y="9132300"/>
        <a:ext cx="6492220" cy="635012"/>
      </dsp:txXfrm>
    </dsp:sp>
    <dsp:sp modelId="{AC2EE8B0-E87E-42A7-A10A-8C5F3FD4783F}">
      <dsp:nvSpPr>
        <dsp:cNvPr id="0" name=""/>
        <dsp:cNvSpPr/>
      </dsp:nvSpPr>
      <dsp:spPr>
        <a:xfrm rot="10800000">
          <a:off x="0" y="6312016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oporte</a:t>
          </a:r>
        </a:p>
      </dsp:txBody>
      <dsp:txXfrm rot="-10800000">
        <a:off x="0" y="6312016"/>
        <a:ext cx="19495699" cy="745225"/>
      </dsp:txXfrm>
    </dsp:sp>
    <dsp:sp modelId="{007CFC69-67D0-405F-A6F8-03FBB5EBCBD4}">
      <dsp:nvSpPr>
        <dsp:cNvPr id="0" name=""/>
        <dsp:cNvSpPr/>
      </dsp:nvSpPr>
      <dsp:spPr>
        <a:xfrm>
          <a:off x="951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Nuevos reportes</a:t>
          </a:r>
        </a:p>
      </dsp:txBody>
      <dsp:txXfrm>
        <a:off x="9519" y="7057242"/>
        <a:ext cx="6492220" cy="634822"/>
      </dsp:txXfrm>
    </dsp:sp>
    <dsp:sp modelId="{D5A9615E-6D64-42C7-A7F4-7B2D96EEBF35}">
      <dsp:nvSpPr>
        <dsp:cNvPr id="0" name=""/>
        <dsp:cNvSpPr/>
      </dsp:nvSpPr>
      <dsp:spPr>
        <a:xfrm>
          <a:off x="650173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Desarrollo</a:t>
          </a:r>
        </a:p>
      </dsp:txBody>
      <dsp:txXfrm>
        <a:off x="6501739" y="7057242"/>
        <a:ext cx="6492220" cy="634822"/>
      </dsp:txXfrm>
    </dsp:sp>
    <dsp:sp modelId="{2CE9A198-0D82-4501-923D-1C7A3202EBC9}">
      <dsp:nvSpPr>
        <dsp:cNvPr id="0" name=""/>
        <dsp:cNvSpPr/>
      </dsp:nvSpPr>
      <dsp:spPr>
        <a:xfrm>
          <a:off x="12993959" y="7057242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3D</a:t>
          </a:r>
        </a:p>
      </dsp:txBody>
      <dsp:txXfrm>
        <a:off x="12993959" y="7057242"/>
        <a:ext cx="6492220" cy="634822"/>
      </dsp:txXfrm>
    </dsp:sp>
    <dsp:sp modelId="{95AD91AD-CB62-4BD8-94F0-DFCC20ABD171}">
      <dsp:nvSpPr>
        <dsp:cNvPr id="0" name=""/>
        <dsp:cNvSpPr/>
      </dsp:nvSpPr>
      <dsp:spPr>
        <a:xfrm rot="10800000">
          <a:off x="0" y="4209572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lculadora</a:t>
          </a:r>
        </a:p>
      </dsp:txBody>
      <dsp:txXfrm rot="-10800000">
        <a:off x="0" y="4209572"/>
        <a:ext cx="19495699" cy="745225"/>
      </dsp:txXfrm>
    </dsp:sp>
    <dsp:sp modelId="{9D8D2D06-5FB4-42DA-988C-D4400F8A15D7}">
      <dsp:nvSpPr>
        <dsp:cNvPr id="0" name=""/>
        <dsp:cNvSpPr/>
      </dsp:nvSpPr>
      <dsp:spPr>
        <a:xfrm>
          <a:off x="951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Propuesta nueva (que no encuentran)</a:t>
          </a:r>
        </a:p>
      </dsp:txBody>
      <dsp:txXfrm>
        <a:off x="9519" y="4954798"/>
        <a:ext cx="6492220" cy="634822"/>
      </dsp:txXfrm>
    </dsp:sp>
    <dsp:sp modelId="{757C85E8-B454-49CD-8F22-D3E9EB042994}">
      <dsp:nvSpPr>
        <dsp:cNvPr id="0" name=""/>
        <dsp:cNvSpPr/>
      </dsp:nvSpPr>
      <dsp:spPr>
        <a:xfrm>
          <a:off x="650173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Boletín y reportes</a:t>
          </a:r>
        </a:p>
      </dsp:txBody>
      <dsp:txXfrm>
        <a:off x="6501739" y="4954798"/>
        <a:ext cx="6492220" cy="634822"/>
      </dsp:txXfrm>
    </dsp:sp>
    <dsp:sp modelId="{49A26938-D933-49A6-8EA8-CC39758147BA}">
      <dsp:nvSpPr>
        <dsp:cNvPr id="0" name=""/>
        <dsp:cNvSpPr/>
      </dsp:nvSpPr>
      <dsp:spPr>
        <a:xfrm>
          <a:off x="12993959" y="4954798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Video comercial y notas </a:t>
          </a:r>
        </a:p>
      </dsp:txBody>
      <dsp:txXfrm>
        <a:off x="12993959" y="4954798"/>
        <a:ext cx="6492220" cy="634822"/>
      </dsp:txXfrm>
    </dsp:sp>
    <dsp:sp modelId="{DE4459A0-95C5-4725-9F03-9A0AD2F9926A}">
      <dsp:nvSpPr>
        <dsp:cNvPr id="0" name=""/>
        <dsp:cNvSpPr/>
      </dsp:nvSpPr>
      <dsp:spPr>
        <a:xfrm rot="10800000">
          <a:off x="0" y="2107128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plicativo Android</a:t>
          </a:r>
        </a:p>
      </dsp:txBody>
      <dsp:txXfrm rot="-10800000">
        <a:off x="0" y="2107128"/>
        <a:ext cx="19495699" cy="745225"/>
      </dsp:txXfrm>
    </dsp:sp>
    <dsp:sp modelId="{B6AD687A-D1FE-4304-8D99-21A7AA53D287}">
      <dsp:nvSpPr>
        <dsp:cNvPr id="0" name=""/>
        <dsp:cNvSpPr/>
      </dsp:nvSpPr>
      <dsp:spPr>
        <a:xfrm>
          <a:off x="951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Reportes por Auspiciador centralizadores (DSYO)</a:t>
          </a:r>
        </a:p>
      </dsp:txBody>
      <dsp:txXfrm>
        <a:off x="9519" y="2852354"/>
        <a:ext cx="6492220" cy="634822"/>
      </dsp:txXfrm>
    </dsp:sp>
    <dsp:sp modelId="{62EB7941-A74D-4F18-8DE5-485D8A2C4F3A}">
      <dsp:nvSpPr>
        <dsp:cNvPr id="0" name=""/>
        <dsp:cNvSpPr/>
      </dsp:nvSpPr>
      <dsp:spPr>
        <a:xfrm>
          <a:off x="650173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odelos de reporte (repositorio)</a:t>
          </a:r>
        </a:p>
      </dsp:txBody>
      <dsp:txXfrm>
        <a:off x="6501739" y="2852354"/>
        <a:ext cx="6492220" cy="634822"/>
      </dsp:txXfrm>
    </dsp:sp>
    <dsp:sp modelId="{CEB0F7B0-2A19-4F09-BDC3-8C3B0ACA1B28}">
      <dsp:nvSpPr>
        <dsp:cNvPr id="0" name=""/>
        <dsp:cNvSpPr/>
      </dsp:nvSpPr>
      <dsp:spPr>
        <a:xfrm>
          <a:off x="12993959" y="2852354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ctualizar variables</a:t>
          </a:r>
        </a:p>
      </dsp:txBody>
      <dsp:txXfrm>
        <a:off x="12993959" y="2852354"/>
        <a:ext cx="6492220" cy="634822"/>
      </dsp:txXfrm>
    </dsp:sp>
    <dsp:sp modelId="{F88137AA-2751-494D-A2CA-74235065E832}">
      <dsp:nvSpPr>
        <dsp:cNvPr id="0" name=""/>
        <dsp:cNvSpPr/>
      </dsp:nvSpPr>
      <dsp:spPr>
        <a:xfrm rot="10800000">
          <a:off x="0" y="4684"/>
          <a:ext cx="19495699" cy="2123150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plicativo IOS  : Luis</a:t>
          </a:r>
        </a:p>
      </dsp:txBody>
      <dsp:txXfrm rot="-10800000">
        <a:off x="0" y="4684"/>
        <a:ext cx="19495699" cy="745225"/>
      </dsp:txXfrm>
    </dsp:sp>
    <dsp:sp modelId="{0EDD97D6-9FCF-4BD4-9B78-0101DA09CB2A}">
      <dsp:nvSpPr>
        <dsp:cNvPr id="0" name=""/>
        <dsp:cNvSpPr/>
      </dsp:nvSpPr>
      <dsp:spPr>
        <a:xfrm>
          <a:off x="951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9519" y="749910"/>
        <a:ext cx="6492220" cy="634822"/>
      </dsp:txXfrm>
    </dsp:sp>
    <dsp:sp modelId="{5B48657E-BE30-4828-B247-6BF8C67A5417}">
      <dsp:nvSpPr>
        <dsp:cNvPr id="0" name=""/>
        <dsp:cNvSpPr/>
      </dsp:nvSpPr>
      <dsp:spPr>
        <a:xfrm>
          <a:off x="650173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6501739" y="749910"/>
        <a:ext cx="6492220" cy="634822"/>
      </dsp:txXfrm>
    </dsp:sp>
    <dsp:sp modelId="{775BC43A-FF86-4AE6-A97D-A464BAB13759}">
      <dsp:nvSpPr>
        <dsp:cNvPr id="0" name=""/>
        <dsp:cNvSpPr/>
      </dsp:nvSpPr>
      <dsp:spPr>
        <a:xfrm>
          <a:off x="12993959" y="749910"/>
          <a:ext cx="6492220" cy="63482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30480" rIns="170688" bIns="3048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993959" y="749910"/>
        <a:ext cx="6492220" cy="63482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A41F62-FAE9-43B9-9163-89540FD6DEC1}">
      <dsp:nvSpPr>
        <dsp:cNvPr id="0" name=""/>
        <dsp:cNvSpPr/>
      </dsp:nvSpPr>
      <dsp:spPr>
        <a:xfrm>
          <a:off x="10943437" y="6851444"/>
          <a:ext cx="6184783" cy="32242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Tamara </a:t>
          </a:r>
        </a:p>
        <a:p>
          <a:pPr marL="228600" lvl="1" indent="-228600" algn="ctr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869697" y="7728321"/>
        <a:ext cx="4187698" cy="2276506"/>
      </dsp:txXfrm>
    </dsp:sp>
    <dsp:sp modelId="{B4C96BEC-98F9-4EC5-AC0B-14E5BD424531}">
      <dsp:nvSpPr>
        <dsp:cNvPr id="0" name=""/>
        <dsp:cNvSpPr/>
      </dsp:nvSpPr>
      <dsp:spPr>
        <a:xfrm>
          <a:off x="2822461" y="6851444"/>
          <a:ext cx="6184783" cy="32242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ilvestre Acosta :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Lider</a:t>
          </a: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Antonio Tolosa :PBI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Yakori : ETL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Marco</a:t>
          </a:r>
        </a:p>
      </dsp:txBody>
      <dsp:txXfrm>
        <a:off x="2893286" y="7728321"/>
        <a:ext cx="4187698" cy="2276506"/>
      </dsp:txXfrm>
    </dsp:sp>
    <dsp:sp modelId="{2FE30161-5C60-466C-9BF5-CEFA31F54EA4}">
      <dsp:nvSpPr>
        <dsp:cNvPr id="0" name=""/>
        <dsp:cNvSpPr/>
      </dsp:nvSpPr>
      <dsp:spPr>
        <a:xfrm>
          <a:off x="10943437" y="0"/>
          <a:ext cx="6184783" cy="32242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Silvestre Acosta :Líder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Yakori : Desarrollo 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PE" sz="2400" b="1" kern="1200" dirty="0">
            <a:latin typeface="Roboto" panose="02000000000000000000" pitchFamily="2" charset="0"/>
            <a:ea typeface="Roboto" panose="02000000000000000000" pitchFamily="2" charset="0"/>
          </a:endParaRPr>
        </a:p>
      </dsp:txBody>
      <dsp:txXfrm>
        <a:off x="12869697" y="70825"/>
        <a:ext cx="4187698" cy="2276506"/>
      </dsp:txXfrm>
    </dsp:sp>
    <dsp:sp modelId="{C29649C1-A21A-4DA3-B338-7BCE30F32902}">
      <dsp:nvSpPr>
        <dsp:cNvPr id="0" name=""/>
        <dsp:cNvSpPr/>
      </dsp:nvSpPr>
      <dsp:spPr>
        <a:xfrm>
          <a:off x="2822461" y="0"/>
          <a:ext cx="6184783" cy="32242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rlos Vera : Líder 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armen Abad : </a:t>
          </a: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Account</a:t>
          </a: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 Manager</a:t>
          </a:r>
        </a:p>
      </dsp:txBody>
      <dsp:txXfrm>
        <a:off x="2893286" y="70825"/>
        <a:ext cx="4187698" cy="2276506"/>
      </dsp:txXfrm>
    </dsp:sp>
    <dsp:sp modelId="{048FFB3B-5C29-49EB-AAB3-FDFCE6B26557}">
      <dsp:nvSpPr>
        <dsp:cNvPr id="0" name=""/>
        <dsp:cNvSpPr/>
      </dsp:nvSpPr>
      <dsp:spPr>
        <a:xfrm>
          <a:off x="5511827" y="574312"/>
          <a:ext cx="4362757" cy="4362757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Comercial : Apps y Soluciones</a:t>
          </a:r>
        </a:p>
      </dsp:txBody>
      <dsp:txXfrm>
        <a:off x="6789649" y="1852134"/>
        <a:ext cx="3084935" cy="3084935"/>
      </dsp:txXfrm>
    </dsp:sp>
    <dsp:sp modelId="{59459A3E-2B79-4498-9275-243D04AC410B}">
      <dsp:nvSpPr>
        <dsp:cNvPr id="0" name=""/>
        <dsp:cNvSpPr/>
      </dsp:nvSpPr>
      <dsp:spPr>
        <a:xfrm rot="5400000">
          <a:off x="10076098" y="574312"/>
          <a:ext cx="4362757" cy="4362757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Analytics</a:t>
          </a: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: Modelos Predictivos</a:t>
          </a:r>
        </a:p>
      </dsp:txBody>
      <dsp:txXfrm rot="-5400000">
        <a:off x="10076098" y="1852134"/>
        <a:ext cx="3084935" cy="3084935"/>
      </dsp:txXfrm>
    </dsp:sp>
    <dsp:sp modelId="{A3B16A58-2DDC-4772-A2E5-036D308AB6DA}">
      <dsp:nvSpPr>
        <dsp:cNvPr id="0" name=""/>
        <dsp:cNvSpPr/>
      </dsp:nvSpPr>
      <dsp:spPr>
        <a:xfrm rot="10800000">
          <a:off x="10076098" y="5138583"/>
          <a:ext cx="4362757" cy="4362757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Funcional</a:t>
          </a:r>
        </a:p>
      </dsp:txBody>
      <dsp:txXfrm rot="10800000">
        <a:off x="10076098" y="5138583"/>
        <a:ext cx="3084935" cy="3084935"/>
      </dsp:txXfrm>
    </dsp:sp>
    <dsp:sp modelId="{075A8DE5-85A6-4DDB-8683-6AC871D00272}">
      <dsp:nvSpPr>
        <dsp:cNvPr id="0" name=""/>
        <dsp:cNvSpPr/>
      </dsp:nvSpPr>
      <dsp:spPr>
        <a:xfrm rot="16200000">
          <a:off x="5511827" y="5138583"/>
          <a:ext cx="4362757" cy="4362757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400" b="1" kern="1200" dirty="0" err="1">
              <a:latin typeface="Roboto" panose="02000000000000000000" pitchFamily="2" charset="0"/>
              <a:ea typeface="Roboto" panose="02000000000000000000" pitchFamily="2" charset="0"/>
            </a:rPr>
            <a:t>Power</a:t>
          </a:r>
          <a:r>
            <a:rPr lang="es-PE" sz="2400" b="1" kern="1200" dirty="0">
              <a:latin typeface="Roboto" panose="02000000000000000000" pitchFamily="2" charset="0"/>
              <a:ea typeface="Roboto" panose="02000000000000000000" pitchFamily="2" charset="0"/>
            </a:rPr>
            <a:t> BI y ETL</a:t>
          </a:r>
        </a:p>
      </dsp:txBody>
      <dsp:txXfrm rot="5400000">
        <a:off x="6789649" y="5138583"/>
        <a:ext cx="3084935" cy="3084935"/>
      </dsp:txXfrm>
    </dsp:sp>
    <dsp:sp modelId="{2934D2CC-D2D2-4613-8CAD-C85CD795A0B6}">
      <dsp:nvSpPr>
        <dsp:cNvPr id="0" name=""/>
        <dsp:cNvSpPr/>
      </dsp:nvSpPr>
      <dsp:spPr>
        <a:xfrm>
          <a:off x="9222186" y="4131017"/>
          <a:ext cx="1506310" cy="1309834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12ADAD-FAEF-411D-AFA9-FF42E3FF5D3C}">
      <dsp:nvSpPr>
        <dsp:cNvPr id="0" name=""/>
        <dsp:cNvSpPr/>
      </dsp:nvSpPr>
      <dsp:spPr>
        <a:xfrm rot="10800000">
          <a:off x="9222186" y="4634800"/>
          <a:ext cx="1506310" cy="1309834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918588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914216" latinLnBrk="0">
      <a:defRPr sz="2400">
        <a:latin typeface="+mn-lt"/>
        <a:ea typeface="+mn-ea"/>
        <a:cs typeface="+mn-cs"/>
        <a:sym typeface="Montserrat Light"/>
      </a:defRPr>
    </a:lvl1pPr>
    <a:lvl2pPr indent="228600" defTabSz="914216" latinLnBrk="0">
      <a:defRPr sz="2400">
        <a:latin typeface="+mn-lt"/>
        <a:ea typeface="+mn-ea"/>
        <a:cs typeface="+mn-cs"/>
        <a:sym typeface="Montserrat Light"/>
      </a:defRPr>
    </a:lvl2pPr>
    <a:lvl3pPr indent="457200" defTabSz="914216" latinLnBrk="0">
      <a:defRPr sz="2400">
        <a:latin typeface="+mn-lt"/>
        <a:ea typeface="+mn-ea"/>
        <a:cs typeface="+mn-cs"/>
        <a:sym typeface="Montserrat Light"/>
      </a:defRPr>
    </a:lvl3pPr>
    <a:lvl4pPr indent="685800" defTabSz="914216" latinLnBrk="0">
      <a:defRPr sz="2400">
        <a:latin typeface="+mn-lt"/>
        <a:ea typeface="+mn-ea"/>
        <a:cs typeface="+mn-cs"/>
        <a:sym typeface="Montserrat Light"/>
      </a:defRPr>
    </a:lvl4pPr>
    <a:lvl5pPr indent="914400" defTabSz="914216" latinLnBrk="0">
      <a:defRPr sz="2400">
        <a:latin typeface="+mn-lt"/>
        <a:ea typeface="+mn-ea"/>
        <a:cs typeface="+mn-cs"/>
        <a:sym typeface="Montserrat Light"/>
      </a:defRPr>
    </a:lvl5pPr>
    <a:lvl6pPr indent="1143000" defTabSz="914216" latinLnBrk="0">
      <a:defRPr sz="2400">
        <a:latin typeface="+mn-lt"/>
        <a:ea typeface="+mn-ea"/>
        <a:cs typeface="+mn-cs"/>
        <a:sym typeface="Montserrat Light"/>
      </a:defRPr>
    </a:lvl6pPr>
    <a:lvl7pPr indent="1371600" defTabSz="914216" latinLnBrk="0">
      <a:defRPr sz="2400">
        <a:latin typeface="+mn-lt"/>
        <a:ea typeface="+mn-ea"/>
        <a:cs typeface="+mn-cs"/>
        <a:sym typeface="Montserrat Light"/>
      </a:defRPr>
    </a:lvl7pPr>
    <a:lvl8pPr indent="1600200" defTabSz="914216" latinLnBrk="0">
      <a:defRPr sz="2400">
        <a:latin typeface="+mn-lt"/>
        <a:ea typeface="+mn-ea"/>
        <a:cs typeface="+mn-cs"/>
        <a:sym typeface="Montserrat Light"/>
      </a:defRPr>
    </a:lvl8pPr>
    <a:lvl9pPr indent="1828800" defTabSz="914216" latinLnBrk="0">
      <a:defRPr sz="2400">
        <a:latin typeface="+mn-lt"/>
        <a:ea typeface="+mn-ea"/>
        <a:cs typeface="+mn-cs"/>
        <a:sym typeface="Montserrat Light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242508"/>
              </p:ext>
            </p:extLst>
          </p:nvPr>
        </p:nvGraphicFramePr>
        <p:xfrm>
          <a:off x="3176" y="3176"/>
          <a:ext cx="3173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3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22918170" y="12770604"/>
            <a:ext cx="783466" cy="9453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197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</p:spPr>
        <p:txBody>
          <a:bodyPr lIns="0" tIns="0" rIns="0" bIns="0" anchor="t" anchorCtr="0">
            <a:spAutoFit/>
          </a:bodyPr>
          <a:lstStyle>
            <a:lvl1pPr>
              <a:defRPr sz="7197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9665" y="3232226"/>
            <a:ext cx="23031972" cy="9121702"/>
          </a:xfrm>
        </p:spPr>
        <p:txBody>
          <a:bodyPr>
            <a:normAutofit/>
          </a:bodyPr>
          <a:lstStyle>
            <a:lvl1pPr>
              <a:defRPr sz="2799">
                <a:latin typeface="+mn-lt"/>
              </a:defRPr>
            </a:lvl1pPr>
            <a:lvl2pPr>
              <a:defRPr sz="2799">
                <a:latin typeface="+mn-lt"/>
              </a:defRPr>
            </a:lvl2pPr>
            <a:lvl3pPr>
              <a:defRPr sz="2799">
                <a:latin typeface="+mn-lt"/>
              </a:defRPr>
            </a:lvl3pPr>
            <a:lvl4pPr>
              <a:defRPr sz="2799">
                <a:latin typeface="+mn-lt"/>
              </a:defRPr>
            </a:lvl4pPr>
            <a:lvl5pPr>
              <a:defRPr sz="2799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9665" y="12904378"/>
            <a:ext cx="5483543" cy="730251"/>
          </a:xfrm>
          <a:prstGeom prst="rect">
            <a:avLst/>
          </a:prstGeom>
        </p:spPr>
        <p:txBody>
          <a:bodyPr/>
          <a:lstStyle>
            <a:lvl1pPr>
              <a:defRPr sz="1999"/>
            </a:lvl1pPr>
          </a:lstStyle>
          <a:p>
            <a:fld id="{C8EAA725-CC0B-4A16-AE77-83A5B67A2992}" type="datetime1">
              <a:rPr lang="en-US" smtClean="0"/>
              <a:t>7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2994" y="12904378"/>
            <a:ext cx="8225313" cy="730251"/>
          </a:xfrm>
          <a:prstGeom prst="rect">
            <a:avLst/>
          </a:prstGeom>
        </p:spPr>
        <p:txBody>
          <a:bodyPr/>
          <a:lstStyle>
            <a:lvl1pPr>
              <a:defRPr sz="1999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918170" y="12904378"/>
            <a:ext cx="783466" cy="730251"/>
          </a:xfrm>
          <a:prstGeom prst="rect">
            <a:avLst/>
          </a:prstGeom>
        </p:spPr>
        <p:txBody>
          <a:bodyPr/>
          <a:lstStyle>
            <a:lvl1pPr algn="ctr">
              <a:defRPr sz="1999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669665" y="638833"/>
            <a:ext cx="1586338" cy="1706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9" tIns="91404" rIns="182809" bIns="914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197"/>
          </a:p>
        </p:txBody>
      </p:sp>
      <p:sp>
        <p:nvSpPr>
          <p:cNvPr id="15" name="Rectangle 14"/>
          <p:cNvSpPr/>
          <p:nvPr userDrawn="1"/>
        </p:nvSpPr>
        <p:spPr>
          <a:xfrm>
            <a:off x="2256002" y="638833"/>
            <a:ext cx="431811" cy="1706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9" tIns="91404" rIns="182809" bIns="914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197"/>
          </a:p>
        </p:txBody>
      </p:sp>
      <p:sp>
        <p:nvSpPr>
          <p:cNvPr id="16" name="Rectangle 15"/>
          <p:cNvSpPr/>
          <p:nvPr userDrawn="1"/>
        </p:nvSpPr>
        <p:spPr>
          <a:xfrm>
            <a:off x="3119627" y="638833"/>
            <a:ext cx="431811" cy="17060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9" tIns="91404" rIns="182809" bIns="914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197"/>
          </a:p>
        </p:txBody>
      </p:sp>
      <p:sp>
        <p:nvSpPr>
          <p:cNvPr id="17" name="Rectangle 16"/>
          <p:cNvSpPr/>
          <p:nvPr userDrawn="1"/>
        </p:nvSpPr>
        <p:spPr>
          <a:xfrm>
            <a:off x="2687814" y="638833"/>
            <a:ext cx="431811" cy="17060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09" tIns="91404" rIns="182809" bIns="914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197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669665" y="2003408"/>
            <a:ext cx="23031972" cy="634853"/>
          </a:xfrm>
        </p:spPr>
        <p:txBody>
          <a:bodyPr lIns="0" tIns="0" rIns="0" bIns="0">
            <a:noAutofit/>
          </a:bodyPr>
          <a:lstStyle>
            <a:lvl1pPr marL="0" indent="0" algn="l" defTabSz="18278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98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913942" indent="0" algn="l" defTabSz="18278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98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1827887" indent="0" algn="l" defTabSz="18278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98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2741829" indent="0" algn="l" defTabSz="18278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98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3655771" indent="0" algn="l" defTabSz="18278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98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9248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6D4CC9C-65B2-444D-99B1-89FEC04016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6413" y="2244726"/>
            <a:ext cx="18278475" cy="4775200"/>
          </a:xfrm>
        </p:spPr>
        <p:txBody>
          <a:bodyPr anchor="b"/>
          <a:lstStyle>
            <a:lvl1pPr algn="ctr">
              <a:defRPr sz="11994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0E32619-8F99-4C79-A984-53CA6307F5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6413" y="7204076"/>
            <a:ext cx="18278475" cy="3311524"/>
          </a:xfrm>
        </p:spPr>
        <p:txBody>
          <a:bodyPr/>
          <a:lstStyle>
            <a:lvl1pPr marL="0" indent="0" algn="ctr">
              <a:buNone/>
              <a:defRPr sz="4798"/>
            </a:lvl1pPr>
            <a:lvl2pPr marL="913943" indent="0" algn="ctr">
              <a:buNone/>
              <a:defRPr sz="3998"/>
            </a:lvl2pPr>
            <a:lvl3pPr marL="1827886" indent="0" algn="ctr">
              <a:buNone/>
              <a:defRPr sz="3598"/>
            </a:lvl3pPr>
            <a:lvl4pPr marL="2741828" indent="0" algn="ctr">
              <a:buNone/>
              <a:defRPr sz="3198"/>
            </a:lvl4pPr>
            <a:lvl5pPr marL="3655771" indent="0" algn="ctr">
              <a:buNone/>
              <a:defRPr sz="3198"/>
            </a:lvl5pPr>
            <a:lvl6pPr marL="4569714" indent="0" algn="ctr">
              <a:buNone/>
              <a:defRPr sz="3198"/>
            </a:lvl6pPr>
            <a:lvl7pPr marL="5483657" indent="0" algn="ctr">
              <a:buNone/>
              <a:defRPr sz="3198"/>
            </a:lvl7pPr>
            <a:lvl8pPr marL="6397600" indent="0" algn="ctr">
              <a:buNone/>
              <a:defRPr sz="3198"/>
            </a:lvl8pPr>
            <a:lvl9pPr marL="7311542" indent="0" algn="ctr">
              <a:buNone/>
              <a:defRPr sz="3198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9C23881-D4D3-484C-8CBB-42939547CA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875B-6C63-444A-8F63-26BC5F9ED2A1}" type="datetimeFigureOut">
              <a:rPr lang="es-PE" smtClean="0"/>
              <a:t>1/07/2022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43037F5-1C16-4BDA-BD4E-5F3F91202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80A94A4-6AFB-4507-9811-8F9F747E90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78E7BA-D946-45C2-88AF-4F9CC0119A5E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4093860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891A74B4-F939-4BC6-A0F1-BC3C38455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60726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" name="Diapositiva de think-cell" r:id="rId6" imgW="480" imgH="481" progId="TCLayout.ActiveDocument.1">
                  <p:embed/>
                </p:oleObj>
              </mc:Choice>
              <mc:Fallback>
                <p:oleObj name="Diapositiva de think-cell" r:id="rId6" imgW="480" imgH="481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891A74B4-F939-4BC6-A0F1-BC3C38455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1218564" y="184149"/>
            <a:ext cx="21934171" cy="30162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5" name="Body Level One…"/>
          <p:cNvSpPr txBox="1">
            <a:spLocks noGrp="1"/>
          </p:cNvSpPr>
          <p:nvPr>
            <p:ph type="body" idx="1"/>
          </p:nvPr>
        </p:nvSpPr>
        <p:spPr>
          <a:xfrm>
            <a:off x="1218564" y="3200400"/>
            <a:ext cx="21934171" cy="10515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92E34AC2-CD7B-4AFB-AB83-9E34AE52A9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7407" y="13627048"/>
            <a:ext cx="24378707" cy="13408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</p:sldLayoutIdLst>
  <p:transition spd="med"/>
  <p:txStyles>
    <p:titleStyle>
      <a:lvl1pPr marL="0" marR="0" indent="0" algn="l" defTabSz="1828343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1pPr>
      <a:lvl2pPr marL="0" marR="0" indent="0" algn="l" defTabSz="1828343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2pPr>
      <a:lvl3pPr marL="0" marR="0" indent="0" algn="l" defTabSz="1828343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3pPr>
      <a:lvl4pPr marL="0" marR="0" indent="0" algn="l" defTabSz="1828343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4pPr>
      <a:lvl5pPr marL="0" marR="0" indent="0" algn="l" defTabSz="1828343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5pPr>
      <a:lvl6pPr marL="0" marR="0" indent="0" algn="l" defTabSz="1828343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6pPr>
      <a:lvl7pPr marL="0" marR="0" indent="0" algn="l" defTabSz="1828343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7pPr>
      <a:lvl8pPr marL="0" marR="0" indent="0" algn="l" defTabSz="1828343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8pPr>
      <a:lvl9pPr marL="0" marR="0" indent="0" algn="l" defTabSz="1828343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9pPr>
    </p:titleStyle>
    <p:bodyStyle>
      <a:lvl1pPr marL="0" marR="0" indent="0" algn="l" defTabSz="1828343" rtl="0" latinLnBrk="0">
        <a:lnSpc>
          <a:spcPct val="9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1pPr>
      <a:lvl2pPr marL="0" marR="0" indent="914171" algn="l" defTabSz="1828343" rtl="0" latinLnBrk="0">
        <a:lnSpc>
          <a:spcPct val="9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2pPr>
      <a:lvl3pPr marL="0" marR="0" indent="1828343" algn="l" defTabSz="1828343" rtl="0" latinLnBrk="0">
        <a:lnSpc>
          <a:spcPct val="9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3pPr>
      <a:lvl4pPr marL="0" marR="0" indent="2742513" algn="l" defTabSz="1828343" rtl="0" latinLnBrk="0">
        <a:lnSpc>
          <a:spcPct val="9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4pPr>
      <a:lvl5pPr marL="0" marR="0" indent="3656684" algn="l" defTabSz="1828343" rtl="0" latinLnBrk="0">
        <a:lnSpc>
          <a:spcPct val="90000"/>
        </a:lnSpc>
        <a:spcBef>
          <a:spcPts val="200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5pPr>
      <a:lvl6pPr marL="5093241" marR="0" indent="-522384" algn="l" defTabSz="1828343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Tx/>
        <a:buChar char="•"/>
        <a:tabLst/>
        <a:defRPr sz="4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6pPr>
      <a:lvl7pPr marL="6007411" marR="0" indent="-522384" algn="l" defTabSz="1828343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Tx/>
        <a:buChar char="•"/>
        <a:tabLst/>
        <a:defRPr sz="4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7pPr>
      <a:lvl8pPr marL="6921584" marR="0" indent="-522384" algn="l" defTabSz="1828343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Tx/>
        <a:buChar char="•"/>
        <a:tabLst/>
        <a:defRPr sz="4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8pPr>
      <a:lvl9pPr marL="7835755" marR="0" indent="-522384" algn="l" defTabSz="1828343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Tx/>
        <a:buChar char="•"/>
        <a:tabLst/>
        <a:defRPr sz="4000" b="0" i="0" u="none" strike="noStrike" cap="none" spc="0" baseline="0">
          <a:ln>
            <a:noFill/>
          </a:ln>
          <a:solidFill>
            <a:srgbClr val="7F7F7F"/>
          </a:solidFill>
          <a:uFillTx/>
          <a:latin typeface="+mn-lt"/>
          <a:ea typeface="+mn-ea"/>
          <a:cs typeface="+mn-cs"/>
          <a:sym typeface="Montserrat Light"/>
        </a:defRPr>
      </a:lvl9pPr>
    </p:bodyStyle>
    <p:otherStyle>
      <a:lvl1pPr marL="0" marR="0" indent="0" algn="ctr" defTabSz="182843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Montserrat Light"/>
        </a:defRPr>
      </a:lvl1pPr>
      <a:lvl2pPr marL="0" marR="0" indent="914216" algn="ctr" defTabSz="182843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Montserrat Light"/>
        </a:defRPr>
      </a:lvl2pPr>
      <a:lvl3pPr marL="0" marR="0" indent="1828433" algn="ctr" defTabSz="182843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Montserrat Light"/>
        </a:defRPr>
      </a:lvl3pPr>
      <a:lvl4pPr marL="0" marR="0" indent="2742651" algn="ctr" defTabSz="182843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Montserrat Light"/>
        </a:defRPr>
      </a:lvl4pPr>
      <a:lvl5pPr marL="0" marR="0" indent="3656867" algn="ctr" defTabSz="182843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Montserrat Light"/>
        </a:defRPr>
      </a:lvl5pPr>
      <a:lvl6pPr marL="0" marR="0" indent="4571086" algn="ctr" defTabSz="182843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Montserrat Light"/>
        </a:defRPr>
      </a:lvl6pPr>
      <a:lvl7pPr marL="0" marR="0" indent="5485303" algn="ctr" defTabSz="182843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Montserrat Light"/>
        </a:defRPr>
      </a:lvl7pPr>
      <a:lvl8pPr marL="0" marR="0" indent="6399519" algn="ctr" defTabSz="182843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Montserrat Light"/>
        </a:defRPr>
      </a:lvl8pPr>
      <a:lvl9pPr marL="0" marR="0" indent="7313737" algn="ctr" defTabSz="182843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Montserrat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4.xml"/><Relationship Id="rId13" Type="http://schemas.openxmlformats.org/officeDocument/2006/relationships/diagramLayout" Target="../diagrams/layout15.xml"/><Relationship Id="rId18" Type="http://schemas.openxmlformats.org/officeDocument/2006/relationships/diagramLayout" Target="../diagrams/layout16.xml"/><Relationship Id="rId26" Type="http://schemas.microsoft.com/office/2007/relationships/diagramDrawing" Target="../diagrams/drawing17.xml"/><Relationship Id="rId3" Type="http://schemas.openxmlformats.org/officeDocument/2006/relationships/diagramLayout" Target="../diagrams/layout13.xml"/><Relationship Id="rId21" Type="http://schemas.microsoft.com/office/2007/relationships/diagramDrawing" Target="../diagrams/drawing16.xml"/><Relationship Id="rId7" Type="http://schemas.openxmlformats.org/officeDocument/2006/relationships/diagramData" Target="../diagrams/data14.xml"/><Relationship Id="rId12" Type="http://schemas.openxmlformats.org/officeDocument/2006/relationships/diagramData" Target="../diagrams/data15.xml"/><Relationship Id="rId17" Type="http://schemas.openxmlformats.org/officeDocument/2006/relationships/diagramData" Target="../diagrams/data16.xml"/><Relationship Id="rId25" Type="http://schemas.openxmlformats.org/officeDocument/2006/relationships/diagramColors" Target="../diagrams/colors17.xml"/><Relationship Id="rId2" Type="http://schemas.openxmlformats.org/officeDocument/2006/relationships/diagramData" Target="../diagrams/data13.xml"/><Relationship Id="rId16" Type="http://schemas.microsoft.com/office/2007/relationships/diagramDrawing" Target="../diagrams/drawing15.xml"/><Relationship Id="rId20" Type="http://schemas.openxmlformats.org/officeDocument/2006/relationships/diagramColors" Target="../diagrams/colors1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3.xml"/><Relationship Id="rId11" Type="http://schemas.microsoft.com/office/2007/relationships/diagramDrawing" Target="../diagrams/drawing14.xml"/><Relationship Id="rId24" Type="http://schemas.openxmlformats.org/officeDocument/2006/relationships/diagramQuickStyle" Target="../diagrams/quickStyle17.xml"/><Relationship Id="rId5" Type="http://schemas.openxmlformats.org/officeDocument/2006/relationships/diagramColors" Target="../diagrams/colors13.xml"/><Relationship Id="rId15" Type="http://schemas.openxmlformats.org/officeDocument/2006/relationships/diagramColors" Target="../diagrams/colors15.xml"/><Relationship Id="rId23" Type="http://schemas.openxmlformats.org/officeDocument/2006/relationships/diagramLayout" Target="../diagrams/layout17.xml"/><Relationship Id="rId10" Type="http://schemas.openxmlformats.org/officeDocument/2006/relationships/diagramColors" Target="../diagrams/colors14.xml"/><Relationship Id="rId19" Type="http://schemas.openxmlformats.org/officeDocument/2006/relationships/diagramQuickStyle" Target="../diagrams/quickStyle16.xml"/><Relationship Id="rId4" Type="http://schemas.openxmlformats.org/officeDocument/2006/relationships/diagramQuickStyle" Target="../diagrams/quickStyle13.xml"/><Relationship Id="rId9" Type="http://schemas.openxmlformats.org/officeDocument/2006/relationships/diagramQuickStyle" Target="../diagrams/quickStyle14.xml"/><Relationship Id="rId14" Type="http://schemas.openxmlformats.org/officeDocument/2006/relationships/diagramQuickStyle" Target="../diagrams/quickStyle15.xml"/><Relationship Id="rId22" Type="http://schemas.openxmlformats.org/officeDocument/2006/relationships/diagramData" Target="../diagrams/data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A632168E-AFA9-48AD-A1BC-9B3B10507D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29"/>
            <a:ext cx="24371300" cy="13699343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2DBFDB5-AA1B-487B-B14B-EDE5999174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55" y="10602035"/>
            <a:ext cx="24371300" cy="311039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C495977-F397-47CD-81DB-5653BAAAE3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4040" y="11806272"/>
            <a:ext cx="2688881" cy="787917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150A25DD-6B17-4594-B9A4-E8DA5C79D4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3466" y="10527008"/>
            <a:ext cx="4480645" cy="3346446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D1CA3389-62F6-4FF1-A6DA-2B0ABD81629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06"/>
          <a:stretch/>
        </p:blipFill>
        <p:spPr>
          <a:xfrm>
            <a:off x="14478897" y="11673304"/>
            <a:ext cx="4681676" cy="1681488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768321B0-0580-46EE-B102-6D6BCADFBD09}"/>
              </a:ext>
            </a:extLst>
          </p:cNvPr>
          <p:cNvSpPr txBox="1"/>
          <p:nvPr/>
        </p:nvSpPr>
        <p:spPr>
          <a:xfrm>
            <a:off x="8636731" y="4809881"/>
            <a:ext cx="1380345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7200" dirty="0">
                <a:solidFill>
                  <a:schemeClr val="bg1"/>
                </a:solidFill>
                <a:latin typeface="Roboto Bk" pitchFamily="2" charset="0"/>
                <a:ea typeface="Roboto Bk" pitchFamily="2" charset="0"/>
              </a:rPr>
              <a:t>BIG DATA &amp; ANALYTICS SOLUCIONES INTELIGENTE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73A5C238-FA72-4A25-9A82-2E3ED53EB6AA}"/>
              </a:ext>
            </a:extLst>
          </p:cNvPr>
          <p:cNvSpPr/>
          <p:nvPr/>
        </p:nvSpPr>
        <p:spPr>
          <a:xfrm>
            <a:off x="8030074" y="4828087"/>
            <a:ext cx="91390" cy="2405700"/>
          </a:xfrm>
          <a:prstGeom prst="rect">
            <a:avLst/>
          </a:prstGeom>
          <a:solidFill>
            <a:srgbClr val="D90D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7196"/>
          </a:p>
        </p:txBody>
      </p:sp>
      <p:pic>
        <p:nvPicPr>
          <p:cNvPr id="16" name="Imagen 15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DD02891-B6FF-48FA-9029-FC8058EC17B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0696" y="4742083"/>
            <a:ext cx="3645370" cy="240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5288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10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7925133"/>
              </p:ext>
            </p:extLst>
          </p:nvPr>
        </p:nvGraphicFramePr>
        <p:xfrm>
          <a:off x="2967487" y="2225614"/>
          <a:ext cx="19950683" cy="10075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46B1C4C4-E274-4BD0-A077-A1B1479C0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s-PE" sz="4800" dirty="0">
                <a:solidFill>
                  <a:srgbClr val="0070C0"/>
                </a:solidFill>
              </a:rPr>
              <a:t>Comité</a:t>
            </a:r>
            <a:r>
              <a:rPr lang="en-US" sz="4800" dirty="0">
                <a:solidFill>
                  <a:srgbClr val="0070C0"/>
                </a:solidFill>
              </a:rPr>
              <a:t> </a:t>
            </a:r>
            <a:r>
              <a:rPr lang="en-US" sz="4800" dirty="0" err="1">
                <a:solidFill>
                  <a:srgbClr val="0070C0"/>
                </a:solidFill>
              </a:rPr>
              <a:t>Sipan</a:t>
            </a:r>
            <a:r>
              <a:rPr lang="en-US" sz="4800" dirty="0">
                <a:solidFill>
                  <a:srgbClr val="0070C0"/>
                </a:solidFill>
              </a:rPr>
              <a:t> y UPC</a:t>
            </a:r>
          </a:p>
        </p:txBody>
      </p:sp>
    </p:spTree>
    <p:extLst>
      <p:ext uri="{BB962C8B-B14F-4D97-AF65-F5344CB8AC3E}">
        <p14:creationId xmlns:p14="http://schemas.microsoft.com/office/powerpoint/2010/main" val="32786425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11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0345173"/>
              </p:ext>
            </p:extLst>
          </p:nvPr>
        </p:nvGraphicFramePr>
        <p:xfrm>
          <a:off x="2898475" y="2501660"/>
          <a:ext cx="19495699" cy="9799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12890FC3-2731-49C7-BA9B-0ED0C0E71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s-PE" sz="4800" dirty="0">
                <a:solidFill>
                  <a:srgbClr val="0070C0"/>
                </a:solidFill>
              </a:rPr>
              <a:t>Actividades</a:t>
            </a:r>
            <a:r>
              <a:rPr lang="en-US" sz="4800" dirty="0">
                <a:solidFill>
                  <a:srgbClr val="0070C0"/>
                </a:solidFill>
              </a:rPr>
              <a:t> (Silvestre Acosta)</a:t>
            </a:r>
          </a:p>
        </p:txBody>
      </p:sp>
    </p:spTree>
    <p:extLst>
      <p:ext uri="{BB962C8B-B14F-4D97-AF65-F5344CB8AC3E}">
        <p14:creationId xmlns:p14="http://schemas.microsoft.com/office/powerpoint/2010/main" val="1589753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12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2161517"/>
              </p:ext>
            </p:extLst>
          </p:nvPr>
        </p:nvGraphicFramePr>
        <p:xfrm>
          <a:off x="2967487" y="2225614"/>
          <a:ext cx="19950683" cy="10075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46B1C4C4-E274-4BD0-A077-A1B1479C0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s-PE" sz="4800" dirty="0">
                <a:solidFill>
                  <a:srgbClr val="0070C0"/>
                </a:solidFill>
              </a:rPr>
              <a:t>Comité</a:t>
            </a:r>
            <a:r>
              <a:rPr lang="en-US" sz="4800" dirty="0">
                <a:solidFill>
                  <a:srgbClr val="0070C0"/>
                </a:solidFill>
              </a:rPr>
              <a:t> UCV y USIL</a:t>
            </a:r>
          </a:p>
        </p:txBody>
      </p:sp>
    </p:spTree>
    <p:extLst>
      <p:ext uri="{BB962C8B-B14F-4D97-AF65-F5344CB8AC3E}">
        <p14:creationId xmlns:p14="http://schemas.microsoft.com/office/powerpoint/2010/main" val="18822322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13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/>
        </p:nvGraphicFramePr>
        <p:xfrm>
          <a:off x="2898475" y="2501660"/>
          <a:ext cx="19495699" cy="9799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12890FC3-2731-49C7-BA9B-0ED0C0E71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s-PE" sz="4800" dirty="0">
                <a:solidFill>
                  <a:srgbClr val="0070C0"/>
                </a:solidFill>
              </a:rPr>
              <a:t>Actividades</a:t>
            </a:r>
            <a:r>
              <a:rPr lang="en-US" sz="4800" dirty="0">
                <a:solidFill>
                  <a:srgbClr val="0070C0"/>
                </a:solidFill>
              </a:rPr>
              <a:t> (Silvestre Acosta)</a:t>
            </a:r>
          </a:p>
        </p:txBody>
      </p:sp>
    </p:spTree>
    <p:extLst>
      <p:ext uri="{BB962C8B-B14F-4D97-AF65-F5344CB8AC3E}">
        <p14:creationId xmlns:p14="http://schemas.microsoft.com/office/powerpoint/2010/main" val="2151932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Agend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14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30653" y="2907643"/>
            <a:ext cx="9445109" cy="626544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defTabSz="1828162" hangingPunct="1"/>
            <a:r>
              <a:rPr lang="en-US" sz="3599" b="1" kern="1200" err="1">
                <a:solidFill>
                  <a:srgbClr val="09244C"/>
                </a:solidFill>
                <a:ea typeface="+mn-ea"/>
                <a:cs typeface="+mn-cs"/>
              </a:rPr>
              <a:t>Equipo</a:t>
            </a:r>
            <a:r>
              <a:rPr lang="en-US" sz="3599" b="1" kern="1200">
                <a:solidFill>
                  <a:srgbClr val="09244C"/>
                </a:solidFill>
                <a:ea typeface="+mn-ea"/>
                <a:cs typeface="+mn-cs"/>
              </a:rPr>
              <a:t> Desarrollo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9665" y="2907642"/>
            <a:ext cx="656967" cy="626544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defTabSz="1828162" hangingPunct="1"/>
            <a:r>
              <a:rPr lang="en-US" sz="3599" b="1" kern="1200">
                <a:solidFill>
                  <a:srgbClr val="AED8EF"/>
                </a:solidFill>
                <a:ea typeface="+mn-ea"/>
                <a:cs typeface="+mn-cs"/>
              </a:rPr>
              <a:t>01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30653" y="3552746"/>
            <a:ext cx="9445109" cy="2041932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MINED</a:t>
            </a:r>
          </a:p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 err="1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Capeco</a:t>
            </a: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 </a:t>
            </a:r>
          </a:p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Mi </a:t>
            </a:r>
            <a:r>
              <a:rPr lang="en-US" sz="3199" kern="1200" dirty="0" err="1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Estudiante</a:t>
            </a: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, Mi Connect y Mi Visualization</a:t>
            </a:r>
          </a:p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 err="1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Vitapro</a:t>
            </a: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 y World Vis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430653" y="5857158"/>
            <a:ext cx="9445109" cy="626544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defTabSz="1828162" hangingPunct="1"/>
            <a:r>
              <a:rPr lang="en-US" sz="3599" b="1" kern="1200" err="1">
                <a:solidFill>
                  <a:srgbClr val="09244C"/>
                </a:solidFill>
                <a:ea typeface="+mn-ea"/>
                <a:cs typeface="+mn-cs"/>
              </a:rPr>
              <a:t>Equipo</a:t>
            </a:r>
            <a:r>
              <a:rPr lang="en-US" sz="3599" b="1" kern="1200">
                <a:solidFill>
                  <a:srgbClr val="09244C"/>
                </a:solidFill>
                <a:ea typeface="+mn-ea"/>
                <a:cs typeface="+mn-cs"/>
              </a:rPr>
              <a:t> Analytic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69665" y="5857157"/>
            <a:ext cx="656967" cy="626544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defTabSz="1828162" hangingPunct="1"/>
            <a:r>
              <a:rPr lang="en-US" sz="3599" b="1" kern="1200">
                <a:solidFill>
                  <a:srgbClr val="AED8EF"/>
                </a:solidFill>
                <a:ea typeface="+mn-ea"/>
                <a:cs typeface="+mn-cs"/>
              </a:rPr>
              <a:t>02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430653" y="6502262"/>
            <a:ext cx="9445109" cy="1549618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UPC - </a:t>
            </a:r>
            <a:r>
              <a:rPr lang="en-US" sz="3199" kern="1200" dirty="0" err="1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Cibertec</a:t>
            </a:r>
            <a:endParaRPr lang="en-US" sz="3199" kern="1200" dirty="0">
              <a:solidFill>
                <a:prstClr val="black">
                  <a:lumMod val="75000"/>
                  <a:lumOff val="25000"/>
                </a:prstClr>
              </a:solidFill>
              <a:ea typeface="+mn-ea"/>
              <a:cs typeface="+mn-cs"/>
            </a:endParaRPr>
          </a:p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UCV</a:t>
            </a:r>
          </a:p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 err="1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Sipan</a:t>
            </a:r>
            <a:endParaRPr lang="en-US" sz="3199" kern="1200" dirty="0">
              <a:solidFill>
                <a:prstClr val="black">
                  <a:lumMod val="75000"/>
                  <a:lumOff val="2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0653" y="8314422"/>
            <a:ext cx="9445109" cy="626544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defTabSz="1828162" hangingPunct="1"/>
            <a:r>
              <a:rPr lang="en-US" sz="3599" b="1" kern="1200" err="1">
                <a:solidFill>
                  <a:srgbClr val="09244C"/>
                </a:solidFill>
                <a:ea typeface="+mn-ea"/>
                <a:cs typeface="+mn-cs"/>
              </a:rPr>
              <a:t>Equipo</a:t>
            </a:r>
            <a:r>
              <a:rPr lang="en-US" sz="3599" b="1" kern="1200">
                <a:solidFill>
                  <a:srgbClr val="09244C"/>
                </a:solidFill>
                <a:ea typeface="+mn-ea"/>
                <a:cs typeface="+mn-cs"/>
              </a:rPr>
              <a:t> BI / Big Data Visualiza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69665" y="8314421"/>
            <a:ext cx="656967" cy="626544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defTabSz="1828162" hangingPunct="1"/>
            <a:r>
              <a:rPr lang="en-US" sz="3599" b="1" kern="1200">
                <a:solidFill>
                  <a:srgbClr val="AED8EF"/>
                </a:solidFill>
                <a:ea typeface="+mn-ea"/>
                <a:cs typeface="+mn-cs"/>
              </a:rPr>
              <a:t>03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430653" y="8959526"/>
            <a:ext cx="9445109" cy="2041932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 err="1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Vitapro</a:t>
            </a: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	</a:t>
            </a:r>
          </a:p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MEF / ZAT</a:t>
            </a:r>
          </a:p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 err="1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Capeco</a:t>
            </a:r>
            <a:endParaRPr lang="en-US" sz="3199" kern="1200" dirty="0">
              <a:solidFill>
                <a:prstClr val="black">
                  <a:lumMod val="75000"/>
                  <a:lumOff val="25000"/>
                </a:prstClr>
              </a:solidFill>
              <a:ea typeface="+mn-ea"/>
              <a:cs typeface="+mn-cs"/>
            </a:endParaRPr>
          </a:p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endParaRPr lang="en-US" sz="3199" kern="1200" dirty="0">
              <a:solidFill>
                <a:prstClr val="black">
                  <a:lumMod val="75000"/>
                  <a:lumOff val="2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30653" y="11263939"/>
            <a:ext cx="9445109" cy="626544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defTabSz="1828162" hangingPunct="1"/>
            <a:r>
              <a:rPr lang="en-US" sz="3599" b="1" kern="1200" err="1">
                <a:solidFill>
                  <a:srgbClr val="09244C"/>
                </a:solidFill>
                <a:ea typeface="+mn-ea"/>
                <a:cs typeface="+mn-cs"/>
              </a:rPr>
              <a:t>Equipo</a:t>
            </a:r>
            <a:r>
              <a:rPr lang="en-US" sz="3599" b="1" kern="1200">
                <a:solidFill>
                  <a:srgbClr val="09244C"/>
                </a:solidFill>
                <a:ea typeface="+mn-ea"/>
                <a:cs typeface="+mn-cs"/>
              </a:rPr>
              <a:t> </a:t>
            </a:r>
            <a:r>
              <a:rPr lang="en-US" sz="3599" b="1" kern="1200" err="1">
                <a:solidFill>
                  <a:srgbClr val="09244C"/>
                </a:solidFill>
                <a:ea typeface="+mn-ea"/>
                <a:cs typeface="+mn-cs"/>
              </a:rPr>
              <a:t>Comercial</a:t>
            </a:r>
            <a:endParaRPr lang="en-US" sz="3599" b="1" kern="1200">
              <a:solidFill>
                <a:srgbClr val="09244C"/>
              </a:solidFill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69665" y="11263938"/>
            <a:ext cx="656967" cy="626544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defTabSz="1828162" hangingPunct="1"/>
            <a:r>
              <a:rPr lang="en-US" sz="3599" b="1" kern="1200">
                <a:solidFill>
                  <a:srgbClr val="AED8EF"/>
                </a:solidFill>
                <a:ea typeface="+mn-ea"/>
                <a:cs typeface="+mn-cs"/>
              </a:rPr>
              <a:t>04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430653" y="11909042"/>
            <a:ext cx="9445109" cy="1057303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ONPE</a:t>
            </a:r>
          </a:p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Material Mi Solutions, Pipelin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3306862" y="2907643"/>
            <a:ext cx="9445109" cy="626544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defTabSz="1828162" hangingPunct="1"/>
            <a:r>
              <a:rPr lang="en-US" sz="3599" b="1" kern="1200" dirty="0" err="1">
                <a:solidFill>
                  <a:srgbClr val="09244C"/>
                </a:solidFill>
              </a:rPr>
              <a:t>Equipo</a:t>
            </a:r>
            <a:r>
              <a:rPr lang="en-US" sz="3599" b="1" kern="1200" dirty="0">
                <a:solidFill>
                  <a:srgbClr val="09244C"/>
                </a:solidFill>
              </a:rPr>
              <a:t> </a:t>
            </a:r>
            <a:r>
              <a:rPr lang="en-US" sz="3599" b="1" kern="1200" dirty="0" err="1">
                <a:solidFill>
                  <a:srgbClr val="09244C"/>
                </a:solidFill>
              </a:rPr>
              <a:t>Educa</a:t>
            </a:r>
            <a:endParaRPr lang="en-US" sz="3599" b="1" kern="1200" dirty="0">
              <a:solidFill>
                <a:srgbClr val="09244C"/>
              </a:solidFill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2545873" y="2907642"/>
            <a:ext cx="656967" cy="626544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defTabSz="1828162" hangingPunct="1"/>
            <a:r>
              <a:rPr lang="en-US" sz="3599" b="1" kern="1200">
                <a:solidFill>
                  <a:srgbClr val="AED8EF"/>
                </a:solidFill>
                <a:ea typeface="+mn-ea"/>
                <a:cs typeface="+mn-cs"/>
              </a:rPr>
              <a:t>05.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3306862" y="3552746"/>
            <a:ext cx="9445109" cy="1057303"/>
          </a:xfrm>
          <a:prstGeom prst="rect">
            <a:avLst/>
          </a:prstGeom>
          <a:noFill/>
        </p:spPr>
        <p:txBody>
          <a:bodyPr wrap="square" lIns="0" tIns="0" rIns="0" bIns="71972" rtlCol="0">
            <a:spAutoFit/>
          </a:bodyPr>
          <a:lstStyle/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Data Engineer</a:t>
            </a:r>
          </a:p>
          <a:p>
            <a:pPr marL="571271" indent="-571271" defTabSz="1828162" hangingPunct="1">
              <a:buClr>
                <a:srgbClr val="B0E900"/>
              </a:buClr>
              <a:buFont typeface="Wingdings 3" panose="05040102010807070707" pitchFamily="18" charset="2"/>
              <a:buChar char="}"/>
            </a:pPr>
            <a:r>
              <a:rPr lang="en-US" sz="3199" kern="1200" dirty="0">
                <a:solidFill>
                  <a:prstClr val="black">
                    <a:lumMod val="75000"/>
                    <a:lumOff val="25000"/>
                  </a:prstClr>
                </a:solidFill>
                <a:ea typeface="+mn-ea"/>
                <a:cs typeface="+mn-cs"/>
              </a:rPr>
              <a:t>Data Translator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12545874" y="5857157"/>
            <a:ext cx="10206097" cy="626543"/>
            <a:chOff x="334963" y="1453843"/>
            <a:chExt cx="5105043" cy="313394"/>
          </a:xfrm>
        </p:grpSpPr>
        <p:sp>
          <p:nvSpPr>
            <p:cNvPr id="34" name="TextBox 33"/>
            <p:cNvSpPr txBox="1"/>
            <p:nvPr/>
          </p:nvSpPr>
          <p:spPr>
            <a:xfrm>
              <a:off x="715606" y="1453843"/>
              <a:ext cx="4724400" cy="313394"/>
            </a:xfrm>
            <a:prstGeom prst="rect">
              <a:avLst/>
            </a:prstGeom>
            <a:noFill/>
          </p:spPr>
          <p:txBody>
            <a:bodyPr wrap="square" lIns="0" tIns="0" rIns="0" bIns="71972" rtlCol="0">
              <a:spAutoFit/>
            </a:bodyPr>
            <a:lstStyle/>
            <a:p>
              <a:pPr defTabSz="1828162" hangingPunct="1"/>
              <a:r>
                <a:rPr lang="en-US" sz="3599" b="1" kern="1200" err="1">
                  <a:solidFill>
                    <a:srgbClr val="09244C"/>
                  </a:solidFill>
                  <a:ea typeface="+mn-ea"/>
                  <a:cs typeface="+mn-cs"/>
                </a:rPr>
                <a:t>Planificación</a:t>
              </a:r>
              <a:endParaRPr lang="en-US" sz="3599" b="1" kern="1200">
                <a:solidFill>
                  <a:srgbClr val="09244C"/>
                </a:solidFill>
                <a:ea typeface="+mn-ea"/>
                <a:cs typeface="+mn-cs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34963" y="1453843"/>
              <a:ext cx="328612" cy="313394"/>
            </a:xfrm>
            <a:prstGeom prst="rect">
              <a:avLst/>
            </a:prstGeom>
            <a:noFill/>
          </p:spPr>
          <p:txBody>
            <a:bodyPr wrap="square" lIns="0" tIns="0" rIns="0" bIns="71972" rtlCol="0">
              <a:spAutoFit/>
            </a:bodyPr>
            <a:lstStyle/>
            <a:p>
              <a:pPr defTabSz="1828162" hangingPunct="1"/>
              <a:r>
                <a:rPr lang="en-US" sz="3599" b="1" kern="1200">
                  <a:solidFill>
                    <a:srgbClr val="AED8EF"/>
                  </a:solidFill>
                  <a:ea typeface="+mn-ea"/>
                  <a:cs typeface="+mn-cs"/>
                </a:rPr>
                <a:t>06.</a:t>
              </a:r>
            </a:p>
          </p:txBody>
        </p:sp>
      </p:grpSp>
      <p:graphicFrame>
        <p:nvGraphicFramePr>
          <p:cNvPr id="3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4879668"/>
              </p:ext>
            </p:extLst>
          </p:nvPr>
        </p:nvGraphicFramePr>
        <p:xfrm>
          <a:off x="13306863" y="6502261"/>
          <a:ext cx="10394776" cy="2440584"/>
        </p:xfrm>
        <a:graphic>
          <a:graphicData uri="http://schemas.openxmlformats.org/drawingml/2006/table">
            <a:tbl>
              <a:tblPr/>
              <a:tblGrid>
                <a:gridCol w="86486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61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74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Millennial</a:t>
                      </a:r>
                      <a:endParaRPr kumimoji="0" lang="en-US" sz="2000" b="1" i="0" u="none" strike="noStrike" cap="none" normalizeH="0" baseline="3000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Deadline</a:t>
                      </a:r>
                    </a:p>
                  </a:txBody>
                  <a:tcPr marL="146273" marR="146273" marT="76382" marB="76382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UCV</a:t>
                      </a: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31/07/2022</a:t>
                      </a:r>
                    </a:p>
                  </a:txBody>
                  <a:tcPr marL="146273" marR="146273" marT="76382" marB="7638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MINED</a:t>
                      </a: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31/07/2020</a:t>
                      </a:r>
                    </a:p>
                  </a:txBody>
                  <a:tcPr marL="146273" marR="146273" marT="76382" marB="7638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USIL</a:t>
                      </a: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31/07/2022</a:t>
                      </a:r>
                    </a:p>
                  </a:txBody>
                  <a:tcPr marL="146273" marR="146273" marT="76382" marB="7638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Sipan</a:t>
                      </a:r>
                      <a:endParaRPr kumimoji="0" lang="en-US" sz="1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30/06/2022 </a:t>
                      </a:r>
                    </a:p>
                  </a:txBody>
                  <a:tcPr marL="146273" marR="146273" marT="76382" marB="7638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UPC</a:t>
                      </a: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31/07/2020</a:t>
                      </a:r>
                    </a:p>
                  </a:txBody>
                  <a:tcPr marL="146273" marR="146273" marT="76382" marB="7638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38" name="Group 37"/>
          <p:cNvGrpSpPr/>
          <p:nvPr/>
        </p:nvGrpSpPr>
        <p:grpSpPr>
          <a:xfrm>
            <a:off x="12545874" y="9388873"/>
            <a:ext cx="10206097" cy="626543"/>
            <a:chOff x="334963" y="1453843"/>
            <a:chExt cx="5105043" cy="313394"/>
          </a:xfrm>
        </p:grpSpPr>
        <p:sp>
          <p:nvSpPr>
            <p:cNvPr id="39" name="TextBox 38"/>
            <p:cNvSpPr txBox="1"/>
            <p:nvPr/>
          </p:nvSpPr>
          <p:spPr>
            <a:xfrm>
              <a:off x="715606" y="1453843"/>
              <a:ext cx="4724400" cy="313394"/>
            </a:xfrm>
            <a:prstGeom prst="rect">
              <a:avLst/>
            </a:prstGeom>
            <a:noFill/>
          </p:spPr>
          <p:txBody>
            <a:bodyPr wrap="square" lIns="0" tIns="0" rIns="0" bIns="71972" rtlCol="0">
              <a:spAutoFit/>
            </a:bodyPr>
            <a:lstStyle/>
            <a:p>
              <a:pPr defTabSz="1828162" hangingPunct="1"/>
              <a:r>
                <a:rPr lang="en-US" sz="3599" b="1" kern="1200" err="1">
                  <a:solidFill>
                    <a:srgbClr val="09244C"/>
                  </a:solidFill>
                  <a:ea typeface="+mn-ea"/>
                  <a:cs typeface="+mn-cs"/>
                </a:rPr>
                <a:t>Monitoreo</a:t>
              </a:r>
              <a:endParaRPr lang="en-US" sz="3599" b="1" kern="1200">
                <a:solidFill>
                  <a:srgbClr val="09244C"/>
                </a:solidFill>
                <a:ea typeface="+mn-ea"/>
                <a:cs typeface="+mn-cs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34963" y="1453843"/>
              <a:ext cx="328612" cy="313394"/>
            </a:xfrm>
            <a:prstGeom prst="rect">
              <a:avLst/>
            </a:prstGeom>
            <a:noFill/>
          </p:spPr>
          <p:txBody>
            <a:bodyPr wrap="square" lIns="0" tIns="0" rIns="0" bIns="71972" rtlCol="0">
              <a:spAutoFit/>
            </a:bodyPr>
            <a:lstStyle/>
            <a:p>
              <a:pPr defTabSz="1828162" hangingPunct="1"/>
              <a:r>
                <a:rPr lang="en-US" sz="3599" b="1" kern="1200">
                  <a:solidFill>
                    <a:srgbClr val="AED8EF"/>
                  </a:solidFill>
                  <a:ea typeface="+mn-ea"/>
                  <a:cs typeface="+mn-cs"/>
                </a:rPr>
                <a:t>07.</a:t>
              </a:r>
            </a:p>
          </p:txBody>
        </p:sp>
      </p:grpSp>
      <p:graphicFrame>
        <p:nvGraphicFramePr>
          <p:cNvPr id="41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7518157"/>
              </p:ext>
            </p:extLst>
          </p:nvPr>
        </p:nvGraphicFramePr>
        <p:xfrm>
          <a:off x="13306863" y="10033977"/>
          <a:ext cx="10394776" cy="2928264"/>
        </p:xfrm>
        <a:graphic>
          <a:graphicData uri="http://schemas.openxmlformats.org/drawingml/2006/table">
            <a:tbl>
              <a:tblPr/>
              <a:tblGrid>
                <a:gridCol w="86486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61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74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Millennial</a:t>
                      </a:r>
                      <a:endParaRPr kumimoji="0" lang="en-US" sz="2000" b="1" i="0" u="none" strike="noStrike" cap="none" normalizeH="0" baseline="3000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Alerta</a:t>
                      </a:r>
                      <a:endParaRPr kumimoji="0" lang="en-US" sz="20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146273" marR="146273" marT="76382" marB="76382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4">
                            <a:lumMod val="75000"/>
                          </a:schemeClr>
                        </a:gs>
                        <a:gs pos="100000">
                          <a:schemeClr val="accent4"/>
                        </a:gs>
                      </a:gsLst>
                      <a:lin ang="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Educa</a:t>
                      </a:r>
                      <a:endParaRPr kumimoji="0" lang="en-US" sz="1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Arial" charset="0"/>
                          <a:cs typeface="Arial" panose="020B0604020202020204" pitchFamily="34" charset="0"/>
                        </a:rPr>
                        <a:t>Renocavion</a:t>
                      </a: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Arial" charset="0"/>
                          <a:cs typeface="Arial" panose="020B0604020202020204" pitchFamily="34" charset="0"/>
                        </a:rPr>
                        <a:t> Solo Jordan</a:t>
                      </a:r>
                    </a:p>
                  </a:txBody>
                  <a:tcPr marL="146273" marR="146273" marT="76382" marB="7638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Vitapro</a:t>
                      </a:r>
                      <a:endParaRPr kumimoji="0" lang="en-US" sz="1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Acta </a:t>
                      </a:r>
                      <a:r>
                        <a:rPr kumimoji="0" lang="en-US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Smartprice</a:t>
                      </a:r>
                      <a:endParaRPr kumimoji="0" lang="en-US" sz="1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146273" marR="146273" marT="76382" marB="7638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World Vision y Care</a:t>
                      </a: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Incidentes</a:t>
                      </a: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 Plataforma</a:t>
                      </a:r>
                    </a:p>
                  </a:txBody>
                  <a:tcPr marL="146273" marR="146273" marT="76382" marB="7638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Capeco</a:t>
                      </a:r>
                      <a:endParaRPr kumimoji="0" lang="en-US" sz="1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Mas </a:t>
                      </a:r>
                      <a:r>
                        <a:rPr kumimoji="0" lang="en-US" sz="16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reporte</a:t>
                      </a:r>
                      <a:endParaRPr kumimoji="0" lang="en-US" sz="16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cs typeface="Arial" panose="020B0604020202020204" pitchFamily="34" charset="0"/>
                      </a:endParaRPr>
                    </a:p>
                  </a:txBody>
                  <a:tcPr marL="146273" marR="146273" marT="76382" marB="7638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5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cs typeface="Arial" panose="020B0604020202020204" pitchFamily="34" charset="0"/>
                        </a:rPr>
                        <a:t>MINED</a:t>
                      </a:r>
                    </a:p>
                  </a:txBody>
                  <a:tcPr marL="146273" marR="146273" marT="76382" marB="76382" anchor="ctr" horzOverflow="overflow">
                    <a:lnL cap="flat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5000"/>
                        </a:spcBef>
                        <a:spcAft>
                          <a:spcPct val="1500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highlight>
                            <a:srgbClr val="FFFF00"/>
                          </a:highlight>
                          <a:latin typeface="Arial" charset="0"/>
                          <a:cs typeface="Arial" panose="020B0604020202020204" pitchFamily="34" charset="0"/>
                        </a:rPr>
                        <a:t>100% de 100%</a:t>
                      </a:r>
                    </a:p>
                  </a:txBody>
                  <a:tcPr marL="146273" marR="146273" marT="76382" marB="7638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15965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4268"/>
          <a:ext cx="3173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4268"/>
                        <a:ext cx="3173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7150" dirty="0" err="1"/>
              <a:t>Equipo</a:t>
            </a:r>
            <a:r>
              <a:rPr lang="en-US" sz="7150" dirty="0"/>
              <a:t> Desarrollo </a:t>
            </a:r>
            <a:r>
              <a:rPr lang="en-US" sz="7150" dirty="0" err="1"/>
              <a:t>Marzo</a:t>
            </a:r>
            <a:endParaRPr lang="en-US" sz="71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15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19" name="Group 3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5368328"/>
              </p:ext>
            </p:extLst>
          </p:nvPr>
        </p:nvGraphicFramePr>
        <p:xfrm>
          <a:off x="669665" y="2689251"/>
          <a:ext cx="23031974" cy="10471023"/>
        </p:xfrm>
        <a:graphic>
          <a:graphicData uri="http://schemas.openxmlformats.org/drawingml/2006/table">
            <a:tbl>
              <a:tblPr/>
              <a:tblGrid>
                <a:gridCol w="4356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38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51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8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17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523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2800" b="1" cap="all" baseline="0" dirty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Proyecto </a:t>
                      </a:r>
                      <a:r>
                        <a:rPr lang="en-GB" sz="2800" b="1" cap="all" baseline="0" dirty="0" err="1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cliente</a:t>
                      </a:r>
                      <a:endParaRPr lang="en-GB" sz="2800" b="1" cap="all" baseline="0" dirty="0">
                        <a:solidFill>
                          <a:schemeClr val="bg1"/>
                        </a:solidFill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3200" b="1" kern="1200" cap="all" baseline="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/>
                        </a:rPr>
                        <a:t>Status</a:t>
                      </a: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tividad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sponsabl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/>
                        </a:rPr>
                        <a:t>Due date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kumimoji="0"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MINED</a:t>
                      </a:r>
                      <a:endParaRPr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- Desarrollo 90%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- </a:t>
                      </a:r>
                      <a:r>
                        <a:rPr lang="en-GB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Pruebas</a:t>
                      </a: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 80%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endParaRPr lang="en-GB" sz="2400" b="0" i="0" u="none" strike="noStrike" cap="none" baseline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Calibri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Calibri"/>
                        </a:rPr>
                        <a:t>Desarrollo APP IOS 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1" i="0" u="none" strike="noStrike" kern="1200" noProof="0" dirty="0" err="1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Calibri"/>
                        </a:rPr>
                        <a:t>Cotización</a:t>
                      </a:r>
                      <a:r>
                        <a:rPr lang="en-US" sz="2400" b="1" i="0" u="none" strike="noStrike" kern="1200" noProof="0" dirty="0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Calibri"/>
                        </a:rPr>
                        <a:t> cloud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Calibri"/>
                        </a:rPr>
                        <a:t>App Android 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Calibri"/>
                        </a:rPr>
                        <a:t>MINED Academy</a:t>
                      </a:r>
                      <a:endParaRPr lang="en-US" dirty="0">
                        <a:highlight>
                          <a:srgbClr val="FFFF00"/>
                        </a:highlight>
                      </a:endParaRP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Calibri"/>
                        </a:rPr>
                        <a:t>MINED TV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endParaRPr kumimoji="0" lang="en-US" sz="2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Luis Vasquez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Emely</a:t>
                      </a: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Jesus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endParaRPr lang="en-US" sz="2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2022-03-30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Capeco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- Desarrollo 90%</a:t>
                      </a:r>
                      <a:endParaRPr lang="en-US" sz="2400" b="0" i="0" u="none" strike="noStrike" cap="none" normalizeH="0" baseline="0" noProof="0" dirty="0">
                        <a:ln>
                          <a:noFill/>
                        </a:ln>
                        <a:effectLst/>
                        <a:highlight>
                          <a:srgbClr val="FFFF00"/>
                        </a:highlight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- </a:t>
                      </a:r>
                      <a:r>
                        <a:rPr lang="en-GB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Pruebas</a:t>
                      </a: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 70%</a:t>
                      </a:r>
                      <a:endParaRPr lang="en-GB" dirty="0">
                        <a:highlight>
                          <a:srgbClr val="FFFF00"/>
                        </a:highlight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1" kern="1200" noProof="0" dirty="0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Power BI </a:t>
                      </a:r>
                      <a:r>
                        <a:rPr lang="en-US" sz="2400" b="1" kern="1200" noProof="0" dirty="0" err="1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Embebed</a:t>
                      </a:r>
                      <a:endParaRPr lang="es-ES" b="1" dirty="0">
                        <a:solidFill>
                          <a:schemeClr val="accent2">
                            <a:lumMod val="50000"/>
                          </a:schemeClr>
                        </a:solidFill>
                        <a:highlight>
                          <a:srgbClr val="FFFF00"/>
                        </a:highlight>
                      </a:endParaRP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1" kern="1200" noProof="0" dirty="0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PME </a:t>
                      </a:r>
                      <a:r>
                        <a:rPr lang="en-US" sz="2400" b="1" kern="1200" noProof="0" dirty="0" err="1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Capeco</a:t>
                      </a:r>
                      <a:r>
                        <a:rPr lang="en-US" sz="2400" b="1" kern="1200" noProof="0" dirty="0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b="1" kern="1200" noProof="0" dirty="0" err="1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retoques</a:t>
                      </a:r>
                      <a:endParaRPr lang="en-US" sz="2400" b="1" i="0" u="none" strike="noStrike" kern="1200" noProof="0" dirty="0">
                        <a:solidFill>
                          <a:schemeClr val="accent2">
                            <a:lumMod val="50000"/>
                          </a:schemeClr>
                        </a:solidFill>
                        <a:highlight>
                          <a:srgbClr val="FFFF00"/>
                        </a:highlight>
                        <a:latin typeface="Calibri"/>
                      </a:endParaRP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1" kern="1200" noProof="0" dirty="0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App </a:t>
                      </a:r>
                      <a:r>
                        <a:rPr lang="en-US" sz="2400" b="1" kern="1200" noProof="0" dirty="0" err="1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toma</a:t>
                      </a:r>
                      <a:r>
                        <a:rPr lang="en-US" sz="2400" b="1" kern="1200" noProof="0" dirty="0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2400" b="1" kern="1200" noProof="0" dirty="0" err="1">
                          <a:solidFill>
                            <a:schemeClr val="accent2">
                              <a:lumMod val="50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datos</a:t>
                      </a:r>
                      <a:endParaRPr lang="en-US" sz="2400" b="1" i="0" u="none" strike="noStrike" kern="1200" noProof="0" dirty="0">
                        <a:solidFill>
                          <a:schemeClr val="accent2">
                            <a:lumMod val="50000"/>
                          </a:schemeClr>
                        </a:solidFill>
                        <a:highlight>
                          <a:srgbClr val="FFFF00"/>
                        </a:highlight>
                        <a:latin typeface="Calibri"/>
                      </a:endParaRP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Scorecard de </a:t>
                      </a: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Capeco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PME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Luis 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Emely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Jhonatan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Ricardo</a:t>
                      </a:r>
                      <a:endParaRPr lang="en-US" sz="2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2022-03-30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Vitapro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- Desarrollo 30%</a:t>
                      </a:r>
                      <a:endParaRPr lang="en-US" sz="2400" b="0" i="0" u="none" strike="noStrike" cap="none" normalizeH="0" baseline="0" noProof="0" dirty="0">
                        <a:ln>
                          <a:noFill/>
                        </a:ln>
                        <a:effectLst/>
                        <a:highlight>
                          <a:srgbClr val="FFFF00"/>
                        </a:highlight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- </a:t>
                      </a:r>
                      <a:r>
                        <a:rPr lang="en-GB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Pruebas</a:t>
                      </a: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 60%</a:t>
                      </a:r>
                      <a:endParaRPr lang="en-GB" dirty="0">
                        <a:highlight>
                          <a:srgbClr val="FFFF00"/>
                        </a:highlight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GB" sz="2400" b="1" kern="1200" noProof="0" dirty="0" err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Desarrolo</a:t>
                      </a:r>
                      <a:r>
                        <a:rPr lang="en-GB" sz="2400" b="1" kern="1200" noProof="0" dirty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Modulo 1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GB" sz="2400" b="1" kern="1200" noProof="0" dirty="0" err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Analisis</a:t>
                      </a:r>
                      <a:r>
                        <a:rPr lang="en-GB" sz="2400" b="1" kern="1200" noProof="0" dirty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2400" b="1" kern="1200" noProof="0" dirty="0" err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Funcional</a:t>
                      </a:r>
                      <a:r>
                        <a:rPr lang="en-GB" sz="2400" b="1" kern="1200" noProof="0" dirty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Modulo2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GB" sz="2400" b="1" kern="1200" noProof="0" dirty="0" err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Analisis</a:t>
                      </a:r>
                      <a:r>
                        <a:rPr lang="en-GB" sz="2400" b="1" kern="1200" noProof="0" dirty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2400" b="1" kern="1200" noProof="0" dirty="0" err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Funcional</a:t>
                      </a:r>
                      <a:r>
                        <a:rPr lang="en-GB" sz="2400" b="1" kern="1200" noProof="0" dirty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Modulo3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GB" sz="2400" b="1" kern="1200" noProof="0" dirty="0" err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Analisis</a:t>
                      </a:r>
                      <a:r>
                        <a:rPr lang="en-GB" sz="2400" b="1" kern="1200" noProof="0" dirty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2400" b="1" kern="1200" noProof="0" dirty="0" err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factibilidad</a:t>
                      </a:r>
                      <a:r>
                        <a:rPr lang="en-GB" sz="2400" b="1" kern="1200" noProof="0" dirty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2400" b="1" kern="1200" noProof="0" dirty="0" err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reportes</a:t>
                      </a:r>
                      <a:r>
                        <a:rPr lang="en-GB" sz="2400" b="1" kern="1200" noProof="0" dirty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de control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kumimoji="0"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Luis </a:t>
                      </a: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kumimoji="0"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Jhonatan</a:t>
                      </a: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kumimoji="0"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Jesus</a:t>
                      </a:r>
                      <a:endParaRPr lang="en-US" sz="2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2020-04-30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7039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Word Vision</a:t>
                      </a:r>
                      <a:endParaRPr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altLang="de-DE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Funcionalidades</a:t>
                      </a:r>
                      <a:r>
                        <a:rPr lang="en-US" altLang="de-DE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de-DE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integradas</a:t>
                      </a:r>
                      <a:r>
                        <a:rPr lang="en-US" altLang="de-DE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con Big Data.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altLang="de-DE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Armar</a:t>
                      </a:r>
                      <a:r>
                        <a:rPr lang="en-US" altLang="de-DE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de-DE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altLang="de-DE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base : </a:t>
                      </a:r>
                      <a:r>
                        <a:rPr lang="en-US" altLang="de-DE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Educa</a:t>
                      </a:r>
                      <a:r>
                        <a:rPr lang="en-US" altLang="de-DE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, ASEI, </a:t>
                      </a:r>
                      <a:r>
                        <a:rPr lang="en-US" altLang="de-DE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Belcorp</a:t>
                      </a:r>
                      <a:r>
                        <a:rPr lang="en-US" altLang="de-DE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Costeos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y </a:t>
                      </a: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arquitectura</a:t>
                      </a:r>
                      <a:endParaRPr lang="en-GB" sz="2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2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Luis y Silvestre </a:t>
                      </a:r>
                      <a:r>
                        <a:rPr kumimoji="0" lang="en-US" sz="2400" b="1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deben</a:t>
                      </a:r>
                      <a:r>
                        <a:rPr kumimoji="0" lang="en-US" sz="2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US" sz="2400" b="1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confirmar</a:t>
                      </a:r>
                      <a:r>
                        <a:rPr kumimoji="0" lang="en-US" sz="2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US" sz="2400" b="1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fechas</a:t>
                      </a:r>
                      <a:r>
                        <a:rPr lang="en-US" sz="2400" b="1" kern="1200" noProof="0" dirty="0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2020-07-30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MI ESTUDIANTE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Sistema de </a:t>
                      </a:r>
                      <a:r>
                        <a:rPr lang="en-GB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registro</a:t>
                      </a: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 (</a:t>
                      </a:r>
                      <a:r>
                        <a:rPr lang="en-GB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finalizado</a:t>
                      </a: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)</a:t>
                      </a:r>
                      <a:endParaRPr lang="en-GB" dirty="0">
                        <a:highlight>
                          <a:srgbClr val="FFFF00"/>
                        </a:highlight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Sistema de Feria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- Desarrollo 70%</a:t>
                      </a:r>
                      <a:endParaRPr lang="en-US" sz="2400" b="0" i="0" u="none" strike="noStrike" cap="none" normalizeH="0" baseline="0" noProof="0" dirty="0">
                        <a:ln>
                          <a:noFill/>
                        </a:ln>
                        <a:effectLst/>
                        <a:highlight>
                          <a:srgbClr val="FFFF00"/>
                        </a:highlight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- </a:t>
                      </a:r>
                      <a:r>
                        <a:rPr lang="en-GB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Pruebas</a:t>
                      </a: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 30%</a:t>
                      </a:r>
                      <a:endParaRPr lang="en-GB" dirty="0">
                        <a:highlight>
                          <a:srgbClr val="FFFF00"/>
                        </a:highlight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r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- 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Diseño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solución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Proceso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Flujo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) (Daniel Vento)</a:t>
                      </a:r>
                    </a:p>
                    <a:p>
                      <a:pPr marL="0" lvl="1" indent="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- Desarrollo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Solución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(Emely - Luis)</a:t>
                      </a:r>
                    </a:p>
                    <a:p>
                      <a:pPr marL="0" lvl="1" indent="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Pruebas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unitarias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(Daniel Vento)</a:t>
                      </a:r>
                    </a:p>
                    <a:p>
                      <a:pPr marL="0" lvl="1" indent="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- Pase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produción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 -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configuración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ambiente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(Luis)</a:t>
                      </a:r>
                    </a:p>
                    <a:p>
                      <a:pPr marL="0" lvl="1" indent="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- 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Pruebas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Funcionales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(Daniel Vento - Luis)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/>
                        <a:buChar char="}"/>
                      </a:pP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Daniel</a:t>
                      </a:r>
                    </a:p>
                    <a:p>
                      <a:pPr marL="34290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/>
                        <a:buChar char="}"/>
                      </a:pP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Emely</a:t>
                      </a:r>
                    </a:p>
                    <a:p>
                      <a:pPr marL="34290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/>
                        <a:buChar char="}"/>
                      </a:pP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Luis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r>
                        <a:rPr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2020-08-30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168812"/>
                  </a:ext>
                </a:extLst>
              </a:tr>
            </a:tbl>
          </a:graphicData>
        </a:graphic>
      </p:graphicFrame>
      <p:grpSp>
        <p:nvGrpSpPr>
          <p:cNvPr id="48" name="Grupo 47">
            <a:extLst>
              <a:ext uri="{FF2B5EF4-FFF2-40B4-BE49-F238E27FC236}">
                <a16:creationId xmlns:a16="http://schemas.microsoft.com/office/drawing/2014/main" id="{8754C96E-214C-40F9-BF2F-BE94C9BE1BDC}"/>
              </a:ext>
            </a:extLst>
          </p:cNvPr>
          <p:cNvGrpSpPr/>
          <p:nvPr/>
        </p:nvGrpSpPr>
        <p:grpSpPr>
          <a:xfrm>
            <a:off x="5857067" y="3600331"/>
            <a:ext cx="869610" cy="1537071"/>
            <a:chOff x="20525927" y="657533"/>
            <a:chExt cx="869610" cy="1537071"/>
          </a:xfrm>
        </p:grpSpPr>
        <p:sp>
          <p:nvSpPr>
            <p:cNvPr id="49" name="Rectangle: Rounded Corners 2">
              <a:extLst>
                <a:ext uri="{FF2B5EF4-FFF2-40B4-BE49-F238E27FC236}">
                  <a16:creationId xmlns:a16="http://schemas.microsoft.com/office/drawing/2014/main" id="{E4B76DEB-709E-4916-98BE-CAEE2A08D317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50" name="Group 24">
              <a:extLst>
                <a:ext uri="{FF2B5EF4-FFF2-40B4-BE49-F238E27FC236}">
                  <a16:creationId xmlns:a16="http://schemas.microsoft.com/office/drawing/2014/main" id="{48938970-ECE0-4535-9F58-59B3F629CC2A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51" name="Ellipse 96">
                <a:extLst>
                  <a:ext uri="{FF2B5EF4-FFF2-40B4-BE49-F238E27FC236}">
                    <a16:creationId xmlns:a16="http://schemas.microsoft.com/office/drawing/2014/main" id="{28DCC3B6-E3B8-49D8-9DD1-2118A2F39431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Ellipse 98">
                <a:extLst>
                  <a:ext uri="{FF2B5EF4-FFF2-40B4-BE49-F238E27FC236}">
                    <a16:creationId xmlns:a16="http://schemas.microsoft.com/office/drawing/2014/main" id="{7D5A2851-E24A-4580-9240-852E6A0B778D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Ellipse 97">
                <a:extLst>
                  <a:ext uri="{FF2B5EF4-FFF2-40B4-BE49-F238E27FC236}">
                    <a16:creationId xmlns:a16="http://schemas.microsoft.com/office/drawing/2014/main" id="{3D18D06B-21B3-4AAE-AA77-7E64193D91C6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rgbClr val="FFC00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0" name="Grupo 59">
            <a:extLst>
              <a:ext uri="{FF2B5EF4-FFF2-40B4-BE49-F238E27FC236}">
                <a16:creationId xmlns:a16="http://schemas.microsoft.com/office/drawing/2014/main" id="{C600B4F8-6243-4708-9A7A-DA76B2037B20}"/>
              </a:ext>
            </a:extLst>
          </p:cNvPr>
          <p:cNvGrpSpPr/>
          <p:nvPr/>
        </p:nvGrpSpPr>
        <p:grpSpPr>
          <a:xfrm>
            <a:off x="5857067" y="5596316"/>
            <a:ext cx="869610" cy="1537071"/>
            <a:chOff x="20525927" y="657533"/>
            <a:chExt cx="869610" cy="1537071"/>
          </a:xfrm>
        </p:grpSpPr>
        <p:sp>
          <p:nvSpPr>
            <p:cNvPr id="61" name="Rectangle: Rounded Corners 2">
              <a:extLst>
                <a:ext uri="{FF2B5EF4-FFF2-40B4-BE49-F238E27FC236}">
                  <a16:creationId xmlns:a16="http://schemas.microsoft.com/office/drawing/2014/main" id="{835212FA-72AF-4628-A3C8-A4A5043ACBBC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62" name="Group 24">
              <a:extLst>
                <a:ext uri="{FF2B5EF4-FFF2-40B4-BE49-F238E27FC236}">
                  <a16:creationId xmlns:a16="http://schemas.microsoft.com/office/drawing/2014/main" id="{19B4F496-2608-449F-8B1A-1D7FB654CB3C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63" name="Ellipse 96">
                <a:extLst>
                  <a:ext uri="{FF2B5EF4-FFF2-40B4-BE49-F238E27FC236}">
                    <a16:creationId xmlns:a16="http://schemas.microsoft.com/office/drawing/2014/main" id="{B6352982-8F23-4A49-8E18-9ADB623A2201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" name="Ellipse 98">
                <a:extLst>
                  <a:ext uri="{FF2B5EF4-FFF2-40B4-BE49-F238E27FC236}">
                    <a16:creationId xmlns:a16="http://schemas.microsoft.com/office/drawing/2014/main" id="{2BA78DBE-A114-4104-A52F-F7166CD86E34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Ellipse 97">
                <a:extLst>
                  <a:ext uri="{FF2B5EF4-FFF2-40B4-BE49-F238E27FC236}">
                    <a16:creationId xmlns:a16="http://schemas.microsoft.com/office/drawing/2014/main" id="{6A4674A4-5550-4488-AD28-6179DB25EB35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rgbClr val="FFC00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6" name="Grupo 65">
            <a:extLst>
              <a:ext uri="{FF2B5EF4-FFF2-40B4-BE49-F238E27FC236}">
                <a16:creationId xmlns:a16="http://schemas.microsoft.com/office/drawing/2014/main" id="{5BE00E0D-D416-445E-A3EF-4A90000FDC6E}"/>
              </a:ext>
            </a:extLst>
          </p:cNvPr>
          <p:cNvGrpSpPr/>
          <p:nvPr/>
        </p:nvGrpSpPr>
        <p:grpSpPr>
          <a:xfrm>
            <a:off x="5847287" y="7438764"/>
            <a:ext cx="869610" cy="1537071"/>
            <a:chOff x="20525927" y="657533"/>
            <a:chExt cx="869610" cy="1537071"/>
          </a:xfrm>
        </p:grpSpPr>
        <p:sp>
          <p:nvSpPr>
            <p:cNvPr id="67" name="Rectangle: Rounded Corners 2">
              <a:extLst>
                <a:ext uri="{FF2B5EF4-FFF2-40B4-BE49-F238E27FC236}">
                  <a16:creationId xmlns:a16="http://schemas.microsoft.com/office/drawing/2014/main" id="{42B9E598-50BC-4AAC-A313-6067B3F92E44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68" name="Group 24">
              <a:extLst>
                <a:ext uri="{FF2B5EF4-FFF2-40B4-BE49-F238E27FC236}">
                  <a16:creationId xmlns:a16="http://schemas.microsoft.com/office/drawing/2014/main" id="{3F5981A4-89E4-4A29-A08B-61EF1C5B7202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69" name="Ellipse 96">
                <a:extLst>
                  <a:ext uri="{FF2B5EF4-FFF2-40B4-BE49-F238E27FC236}">
                    <a16:creationId xmlns:a16="http://schemas.microsoft.com/office/drawing/2014/main" id="{C3DF79A0-7284-4ED0-9236-3221F214787A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Ellipse 98">
                <a:extLst>
                  <a:ext uri="{FF2B5EF4-FFF2-40B4-BE49-F238E27FC236}">
                    <a16:creationId xmlns:a16="http://schemas.microsoft.com/office/drawing/2014/main" id="{971ECBCB-1408-4F1C-9860-984D6B0B9DFA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rgbClr val="FF0000">
                  <a:alpha val="35000"/>
                </a:srgb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 dirty="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Ellipse 97">
                <a:extLst>
                  <a:ext uri="{FF2B5EF4-FFF2-40B4-BE49-F238E27FC236}">
                    <a16:creationId xmlns:a16="http://schemas.microsoft.com/office/drawing/2014/main" id="{FC153056-2DDA-4D2B-95BC-C5B6E2CAD4B9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72" name="Grupo 71">
            <a:extLst>
              <a:ext uri="{FF2B5EF4-FFF2-40B4-BE49-F238E27FC236}">
                <a16:creationId xmlns:a16="http://schemas.microsoft.com/office/drawing/2014/main" id="{BF61AC5A-7A0E-4BD5-AE22-6403918872EA}"/>
              </a:ext>
            </a:extLst>
          </p:cNvPr>
          <p:cNvGrpSpPr/>
          <p:nvPr/>
        </p:nvGrpSpPr>
        <p:grpSpPr>
          <a:xfrm>
            <a:off x="5857067" y="9332391"/>
            <a:ext cx="869610" cy="1537071"/>
            <a:chOff x="20525927" y="657533"/>
            <a:chExt cx="869610" cy="1537071"/>
          </a:xfrm>
        </p:grpSpPr>
        <p:sp>
          <p:nvSpPr>
            <p:cNvPr id="73" name="Rectangle: Rounded Corners 2">
              <a:extLst>
                <a:ext uri="{FF2B5EF4-FFF2-40B4-BE49-F238E27FC236}">
                  <a16:creationId xmlns:a16="http://schemas.microsoft.com/office/drawing/2014/main" id="{182C1425-3C1E-47D1-926E-9D23300C83CB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74" name="Group 24">
              <a:extLst>
                <a:ext uri="{FF2B5EF4-FFF2-40B4-BE49-F238E27FC236}">
                  <a16:creationId xmlns:a16="http://schemas.microsoft.com/office/drawing/2014/main" id="{22C7C3AB-3E79-43C0-BE88-129D6350BCEE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75" name="Ellipse 96">
                <a:extLst>
                  <a:ext uri="{FF2B5EF4-FFF2-40B4-BE49-F238E27FC236}">
                    <a16:creationId xmlns:a16="http://schemas.microsoft.com/office/drawing/2014/main" id="{2E402485-3490-4AD0-A0CC-455E76B6A833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6" name="Ellipse 98">
                <a:extLst>
                  <a:ext uri="{FF2B5EF4-FFF2-40B4-BE49-F238E27FC236}">
                    <a16:creationId xmlns:a16="http://schemas.microsoft.com/office/drawing/2014/main" id="{C227CD1B-E3F4-4929-99F0-166CE2121F41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7" name="Ellipse 97">
                <a:extLst>
                  <a:ext uri="{FF2B5EF4-FFF2-40B4-BE49-F238E27FC236}">
                    <a16:creationId xmlns:a16="http://schemas.microsoft.com/office/drawing/2014/main" id="{E1D81480-0239-4665-8475-1A1D975D58ED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rgbClr val="FFC00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78" name="Grupo 77">
            <a:extLst>
              <a:ext uri="{FF2B5EF4-FFF2-40B4-BE49-F238E27FC236}">
                <a16:creationId xmlns:a16="http://schemas.microsoft.com/office/drawing/2014/main" id="{6FDD689B-4778-43CB-9B9C-863CC4F1CA25}"/>
              </a:ext>
            </a:extLst>
          </p:cNvPr>
          <p:cNvGrpSpPr/>
          <p:nvPr/>
        </p:nvGrpSpPr>
        <p:grpSpPr>
          <a:xfrm>
            <a:off x="5847159" y="11149248"/>
            <a:ext cx="869610" cy="1537071"/>
            <a:chOff x="20525927" y="657533"/>
            <a:chExt cx="869610" cy="1537071"/>
          </a:xfrm>
        </p:grpSpPr>
        <p:sp>
          <p:nvSpPr>
            <p:cNvPr id="79" name="Rectangle: Rounded Corners 2">
              <a:extLst>
                <a:ext uri="{FF2B5EF4-FFF2-40B4-BE49-F238E27FC236}">
                  <a16:creationId xmlns:a16="http://schemas.microsoft.com/office/drawing/2014/main" id="{038186D6-6706-4D0C-95E0-A3C680A439A7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80" name="Group 24">
              <a:extLst>
                <a:ext uri="{FF2B5EF4-FFF2-40B4-BE49-F238E27FC236}">
                  <a16:creationId xmlns:a16="http://schemas.microsoft.com/office/drawing/2014/main" id="{EFE91304-3EB8-409B-AE93-AE954B447F44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81" name="Ellipse 96">
                <a:extLst>
                  <a:ext uri="{FF2B5EF4-FFF2-40B4-BE49-F238E27FC236}">
                    <a16:creationId xmlns:a16="http://schemas.microsoft.com/office/drawing/2014/main" id="{24D4F977-75EB-45A5-915F-2E4753CDDB31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" name="Ellipse 98">
                <a:extLst>
                  <a:ext uri="{FF2B5EF4-FFF2-40B4-BE49-F238E27FC236}">
                    <a16:creationId xmlns:a16="http://schemas.microsoft.com/office/drawing/2014/main" id="{53529C5E-64DE-42AB-BB9C-9C43BF292D63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" name="Ellipse 97">
                <a:extLst>
                  <a:ext uri="{FF2B5EF4-FFF2-40B4-BE49-F238E27FC236}">
                    <a16:creationId xmlns:a16="http://schemas.microsoft.com/office/drawing/2014/main" id="{C0BC282B-99BD-4A01-9707-A1F528337F7D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298672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4268"/>
          <a:ext cx="3173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4268"/>
                        <a:ext cx="3173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7150" dirty="0"/>
              <a:t>Equipo Desarrollo Juli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16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19" name="Group 3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6439739"/>
              </p:ext>
            </p:extLst>
          </p:nvPr>
        </p:nvGraphicFramePr>
        <p:xfrm>
          <a:off x="669665" y="2689251"/>
          <a:ext cx="23031970" cy="7242132"/>
        </p:xfrm>
        <a:graphic>
          <a:graphicData uri="http://schemas.openxmlformats.org/drawingml/2006/table">
            <a:tbl>
              <a:tblPr/>
              <a:tblGrid>
                <a:gridCol w="48419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687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51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8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17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523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2800" b="1" cap="all" baseline="0" dirty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Proyecto </a:t>
                      </a:r>
                      <a:r>
                        <a:rPr lang="en-GB" sz="2800" b="1" cap="all" baseline="0" dirty="0" err="1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cliente</a:t>
                      </a:r>
                      <a:endParaRPr lang="en-GB" sz="2800" b="1" cap="all" baseline="0" dirty="0">
                        <a:solidFill>
                          <a:schemeClr val="bg1"/>
                        </a:solidFill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3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/>
                        </a:rPr>
                        <a:t>Status</a:t>
                      </a: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tividad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sponsabl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/>
                        </a:rPr>
                        <a:t>Due date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kumimoji="0"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n-lt"/>
                          <a:cs typeface="Arial"/>
                        </a:rPr>
                        <a:t>M</a:t>
                      </a: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INED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-  Android BIMIN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-  IOS BIMINED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-  Mined TV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-  Mined Academy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-  Mined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Escaneres</a:t>
                      </a:r>
                      <a:endParaRPr lang="en-GB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Arial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1828433" rtl="0" latinLnBrk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ANDOID BIMINED (95%) (EMELY EN DESARROLLO)</a:t>
                      </a:r>
                    </a:p>
                    <a:p>
                      <a:pPr marL="285750" marR="0" lvl="1" indent="-285750" algn="l" defTabSz="1828433" rtl="0" latinLnBrk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IOS BIMINED (80%) (LUIS DESARROLLO)</a:t>
                      </a:r>
                    </a:p>
                    <a:p>
                      <a:pPr marL="285750" marR="0" lvl="1" indent="-285750" algn="l" defTabSz="1828433" rtl="0" latinLnBrk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MINED TV (PAQUETE DE CAMBIOS )(JESUS)</a:t>
                      </a:r>
                    </a:p>
                    <a:p>
                      <a:pPr marL="285750" marR="0" lvl="1" indent="-285750" algn="l" defTabSz="1828433" rtl="0" latinLnBrk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MINED ACADEMY (90% PAQUETE CAMBIOS)(GEANCARLOS)</a:t>
                      </a:r>
                    </a:p>
                    <a:p>
                      <a:pPr marL="285750" marR="0" lvl="1" indent="-285750" algn="l" defTabSz="1828433" rtl="0" latinLnBrk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MINED ESCANERES (100% WALTER) 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endParaRPr kumimoji="0" lang="en-US" sz="2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marR="0" lvl="1" indent="-285750" algn="l" defTabSz="914447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rgbClr val="1A1D1F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LUIS</a:t>
                      </a:r>
                      <a:endParaRPr lang="en-US" dirty="0"/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EMELY</a:t>
                      </a: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JESUS</a:t>
                      </a:r>
                    </a:p>
                    <a:p>
                      <a:pPr marL="285750" marR="0" lvl="1" indent="-285750" algn="l" defTabSz="914447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GEANCARLOS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WALTER</a:t>
                      </a: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</a:pPr>
                      <a:endParaRPr lang="en-US" sz="2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endParaRPr kumimoji="0"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Calibri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VITAPRO</a:t>
                      </a:r>
                      <a:endParaRPr kumimoji="0" lang="en-GB" altLang="de-DE" sz="2400" b="0" i="0" u="none" strike="noStrike" cap="none" spc="0" normalizeH="0" baseline="0" noProof="0" dirty="0" err="1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Arial"/>
                        <a:sym typeface="Montserrat Light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kumimoji="0"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-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Mivisualizatión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 </a:t>
                      </a:r>
                      <a:endParaRPr kumimoji="0" lang="en-GB" sz="2400" b="0" i="0" u="none" strike="noStrike" cap="none" spc="0" normalizeH="0" baseline="0" noProof="0" dirty="0">
                        <a:ln>
                          <a:noFill/>
                        </a:ln>
                        <a:effectLst/>
                        <a:uFillTx/>
                        <a:sym typeface="Montserrat Light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kumimoji="0"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-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SmartPrecing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 </a:t>
                      </a:r>
                      <a:endParaRPr kumimoji="0" lang="en-GB" sz="2400" b="0" i="0" u="none" strike="noStrike" cap="none" spc="0" normalizeH="0" baseline="0" noProof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Arial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1828433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Mivisualizatión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  (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cerrado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 con acta)</a:t>
                      </a:r>
                    </a:p>
                    <a:p>
                      <a:pPr marL="285750" marR="0" lvl="1" indent="-285750" algn="l" defTabSz="1828433" rtl="0" latinLnBrk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SmartPrecing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    (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cerrado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 sin acta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correco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 de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conformidad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)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LUIS</a:t>
                      </a:r>
                      <a:endParaRPr kumimoji="0" lang="en-US" sz="2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JESUS</a:t>
                      </a:r>
                      <a:endParaRPr kumimoji="0" lang="en-US" sz="2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GEANCARLOS</a:t>
                      </a:r>
                      <a:endParaRPr kumimoji="0" lang="en-US" sz="2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2022-03-30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MERF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- 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PORTAL DESCARGA (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Cerradas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actividades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equipo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desarrollo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 )</a:t>
                      </a:r>
                      <a:endParaRPr lang="en-GB" sz="24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Arial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Ultimos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cambios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culminados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 y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entregados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sustentos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cesar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 y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adrian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.</a:t>
                      </a:r>
                      <a:endParaRPr lang="en-GB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Arial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EMELY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 (100%)</a:t>
                      </a:r>
                      <a:endParaRPr lang="en-US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Arial"/>
                        <a:sym typeface="Montserrat Light"/>
                      </a:endParaRP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GEANCARLOS</a:t>
                      </a:r>
                    </a:p>
                    <a:p>
                      <a:pPr marL="0" marR="0" lvl="1" indent="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None/>
                      </a:pPr>
                      <a:endParaRPr lang="en-US" sz="2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2020-04-30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48" name="Grupo 47">
            <a:extLst>
              <a:ext uri="{FF2B5EF4-FFF2-40B4-BE49-F238E27FC236}">
                <a16:creationId xmlns:a16="http://schemas.microsoft.com/office/drawing/2014/main" id="{8754C96E-214C-40F9-BF2F-BE94C9BE1BDC}"/>
              </a:ext>
            </a:extLst>
          </p:cNvPr>
          <p:cNvGrpSpPr/>
          <p:nvPr/>
        </p:nvGrpSpPr>
        <p:grpSpPr>
          <a:xfrm>
            <a:off x="5857067" y="3600331"/>
            <a:ext cx="869610" cy="1537071"/>
            <a:chOff x="20525927" y="657533"/>
            <a:chExt cx="869610" cy="1537071"/>
          </a:xfrm>
        </p:grpSpPr>
        <p:sp>
          <p:nvSpPr>
            <p:cNvPr id="49" name="Rectangle: Rounded Corners 2">
              <a:extLst>
                <a:ext uri="{FF2B5EF4-FFF2-40B4-BE49-F238E27FC236}">
                  <a16:creationId xmlns:a16="http://schemas.microsoft.com/office/drawing/2014/main" id="{E4B76DEB-709E-4916-98BE-CAEE2A08D317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50" name="Group 24">
              <a:extLst>
                <a:ext uri="{FF2B5EF4-FFF2-40B4-BE49-F238E27FC236}">
                  <a16:creationId xmlns:a16="http://schemas.microsoft.com/office/drawing/2014/main" id="{48938970-ECE0-4535-9F58-59B3F629CC2A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51" name="Ellipse 96">
                <a:extLst>
                  <a:ext uri="{FF2B5EF4-FFF2-40B4-BE49-F238E27FC236}">
                    <a16:creationId xmlns:a16="http://schemas.microsoft.com/office/drawing/2014/main" id="{28DCC3B6-E3B8-49D8-9DD1-2118A2F39431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Ellipse 98">
                <a:extLst>
                  <a:ext uri="{FF2B5EF4-FFF2-40B4-BE49-F238E27FC236}">
                    <a16:creationId xmlns:a16="http://schemas.microsoft.com/office/drawing/2014/main" id="{7D5A2851-E24A-4580-9240-852E6A0B778D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Ellipse 97">
                <a:extLst>
                  <a:ext uri="{FF2B5EF4-FFF2-40B4-BE49-F238E27FC236}">
                    <a16:creationId xmlns:a16="http://schemas.microsoft.com/office/drawing/2014/main" id="{3D18D06B-21B3-4AAE-AA77-7E64193D91C6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rgbClr val="FFC00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0" name="Grupo 59">
            <a:extLst>
              <a:ext uri="{FF2B5EF4-FFF2-40B4-BE49-F238E27FC236}">
                <a16:creationId xmlns:a16="http://schemas.microsoft.com/office/drawing/2014/main" id="{C600B4F8-6243-4708-9A7A-DA76B2037B20}"/>
              </a:ext>
            </a:extLst>
          </p:cNvPr>
          <p:cNvGrpSpPr/>
          <p:nvPr/>
        </p:nvGrpSpPr>
        <p:grpSpPr>
          <a:xfrm>
            <a:off x="5857067" y="5889246"/>
            <a:ext cx="869610" cy="1537071"/>
            <a:chOff x="20525927" y="657533"/>
            <a:chExt cx="869610" cy="1537071"/>
          </a:xfrm>
        </p:grpSpPr>
        <p:sp>
          <p:nvSpPr>
            <p:cNvPr id="61" name="Rectangle: Rounded Corners 2">
              <a:extLst>
                <a:ext uri="{FF2B5EF4-FFF2-40B4-BE49-F238E27FC236}">
                  <a16:creationId xmlns:a16="http://schemas.microsoft.com/office/drawing/2014/main" id="{835212FA-72AF-4628-A3C8-A4A5043ACBBC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 defTabSz="1828162" hangingPunct="1"/>
              <a:endParaRPr lang="en-US" sz="3550" kern="1200" dirty="0">
                <a:highlight>
                  <a:srgbClr val="00FF00"/>
                </a:highlight>
                <a:latin typeface="Calibri"/>
              </a:endParaRPr>
            </a:p>
          </p:txBody>
        </p:sp>
        <p:grpSp>
          <p:nvGrpSpPr>
            <p:cNvPr id="62" name="Group 24">
              <a:extLst>
                <a:ext uri="{FF2B5EF4-FFF2-40B4-BE49-F238E27FC236}">
                  <a16:creationId xmlns:a16="http://schemas.microsoft.com/office/drawing/2014/main" id="{19B4F496-2608-449F-8B1A-1D7FB654CB3C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63" name="Ellipse 96">
                <a:extLst>
                  <a:ext uri="{FF2B5EF4-FFF2-40B4-BE49-F238E27FC236}">
                    <a16:creationId xmlns:a16="http://schemas.microsoft.com/office/drawing/2014/main" id="{B6352982-8F23-4A49-8E18-9ADB623A2201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91440" tIns="45720" rIns="91440" bIns="45720" anchor="t"/>
              <a:lstStyle/>
              <a:p>
                <a:pPr defTabSz="1828162" hangingPunct="1"/>
                <a:endParaRPr lang="en-US" sz="3550" kern="1200" dirty="0">
                  <a:solidFill>
                    <a:srgbClr val="00FE00"/>
                  </a:solidFill>
                  <a:highlight>
                    <a:srgbClr val="00FF00"/>
                  </a:highlight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" name="Ellipse 98">
                <a:extLst>
                  <a:ext uri="{FF2B5EF4-FFF2-40B4-BE49-F238E27FC236}">
                    <a16:creationId xmlns:a16="http://schemas.microsoft.com/office/drawing/2014/main" id="{2BA78DBE-A114-4104-A52F-F7166CD86E34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lIns="91440" tIns="45720" rIns="91440" bIns="45720" anchor="t"/>
              <a:lstStyle/>
              <a:p>
                <a:pPr defTabSz="1828162" hangingPunct="1"/>
                <a:endParaRPr lang="en-US" sz="3550" kern="1200" dirty="0">
                  <a:highlight>
                    <a:srgbClr val="00FF00"/>
                  </a:highlight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Ellipse 97">
                <a:extLst>
                  <a:ext uri="{FF2B5EF4-FFF2-40B4-BE49-F238E27FC236}">
                    <a16:creationId xmlns:a16="http://schemas.microsoft.com/office/drawing/2014/main" id="{6A4674A4-5550-4488-AD28-6179DB25EB35}"/>
                  </a:ext>
                </a:extLst>
              </p:cNvPr>
              <p:cNvSpPr/>
              <p:nvPr/>
            </p:nvSpPr>
            <p:spPr bwMode="gray">
              <a:xfrm>
                <a:off x="3005571" y="1793577"/>
                <a:ext cx="236276" cy="236273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91440" tIns="45720" rIns="91440" bIns="45720" anchor="t"/>
              <a:lstStyle/>
              <a:p>
                <a:pPr defTabSz="1828162" hangingPunct="1"/>
                <a:endParaRPr lang="en-US" sz="3550" kern="1200" dirty="0">
                  <a:highlight>
                    <a:srgbClr val="00FF00"/>
                  </a:highlight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6" name="Grupo 65">
            <a:extLst>
              <a:ext uri="{FF2B5EF4-FFF2-40B4-BE49-F238E27FC236}">
                <a16:creationId xmlns:a16="http://schemas.microsoft.com/office/drawing/2014/main" id="{5BE00E0D-D416-445E-A3EF-4A90000FDC6E}"/>
              </a:ext>
            </a:extLst>
          </p:cNvPr>
          <p:cNvGrpSpPr/>
          <p:nvPr/>
        </p:nvGrpSpPr>
        <p:grpSpPr>
          <a:xfrm>
            <a:off x="5847287" y="7817849"/>
            <a:ext cx="869610" cy="1537071"/>
            <a:chOff x="20525927" y="657533"/>
            <a:chExt cx="869610" cy="1537071"/>
          </a:xfrm>
        </p:grpSpPr>
        <p:sp>
          <p:nvSpPr>
            <p:cNvPr id="67" name="Rectangle: Rounded Corners 2">
              <a:extLst>
                <a:ext uri="{FF2B5EF4-FFF2-40B4-BE49-F238E27FC236}">
                  <a16:creationId xmlns:a16="http://schemas.microsoft.com/office/drawing/2014/main" id="{42B9E598-50BC-4AAC-A313-6067B3F92E44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68" name="Group 24">
              <a:extLst>
                <a:ext uri="{FF2B5EF4-FFF2-40B4-BE49-F238E27FC236}">
                  <a16:creationId xmlns:a16="http://schemas.microsoft.com/office/drawing/2014/main" id="{3F5981A4-89E4-4A29-A08B-61EF1C5B7202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647385"/>
              <a:chOff x="3005571" y="1778390"/>
              <a:chExt cx="236276" cy="537687"/>
            </a:xfrm>
          </p:grpSpPr>
          <p:sp>
            <p:nvSpPr>
              <p:cNvPr id="69" name="Ellipse 96">
                <a:extLst>
                  <a:ext uri="{FF2B5EF4-FFF2-40B4-BE49-F238E27FC236}">
                    <a16:creationId xmlns:a16="http://schemas.microsoft.com/office/drawing/2014/main" id="{C3DF79A0-7284-4ED0-9236-3221F214787A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solidFill>
                  <a:schemeClr val="accent5">
                    <a:lumMod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Ellipse 97">
                <a:extLst>
                  <a:ext uri="{FF2B5EF4-FFF2-40B4-BE49-F238E27FC236}">
                    <a16:creationId xmlns:a16="http://schemas.microsoft.com/office/drawing/2014/main" id="{FC153056-2DDA-4D2B-95BC-C5B6E2CAD4B9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" name="Ellipse 97">
            <a:extLst>
              <a:ext uri="{FF2B5EF4-FFF2-40B4-BE49-F238E27FC236}">
                <a16:creationId xmlns:a16="http://schemas.microsoft.com/office/drawing/2014/main" id="{D81DA023-2DB9-CC56-2EFF-78D750C1F3F0}"/>
              </a:ext>
            </a:extLst>
          </p:cNvPr>
          <p:cNvSpPr/>
          <p:nvPr/>
        </p:nvSpPr>
        <p:spPr bwMode="gray">
          <a:xfrm>
            <a:off x="6097765" y="8850058"/>
            <a:ext cx="362982" cy="284477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defTabSz="1828162" hangingPunct="1"/>
            <a:endParaRPr lang="en-US" sz="3599" kern="120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Ellipse 98">
            <a:extLst>
              <a:ext uri="{FF2B5EF4-FFF2-40B4-BE49-F238E27FC236}">
                <a16:creationId xmlns:a16="http://schemas.microsoft.com/office/drawing/2014/main" id="{FDBFE5C2-FB6D-0978-53DE-E9DCC4A27CB1}"/>
              </a:ext>
            </a:extLst>
          </p:cNvPr>
          <p:cNvSpPr/>
          <p:nvPr/>
        </p:nvSpPr>
        <p:spPr bwMode="gray">
          <a:xfrm>
            <a:off x="6107545" y="6577886"/>
            <a:ext cx="362982" cy="284477"/>
          </a:xfrm>
          <a:prstGeom prst="ellipse">
            <a:avLst/>
          </a:prstGeom>
          <a:solidFill>
            <a:schemeClr val="bg1">
              <a:lumMod val="85000"/>
              <a:alpha val="35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lIns="91440" tIns="45720" rIns="91440" bIns="45720" anchor="t"/>
          <a:lstStyle/>
          <a:p>
            <a:pPr defTabSz="1828162" hangingPunct="1"/>
            <a:endParaRPr lang="en-US" sz="3550" kern="1200" dirty="0">
              <a:highlight>
                <a:srgbClr val="00FF00"/>
              </a:highlight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88919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4268"/>
          <a:ext cx="3173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2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4268"/>
                        <a:ext cx="3173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7150" dirty="0">
                <a:ea typeface="+mn-lt"/>
                <a:cs typeface="+mn-lt"/>
              </a:rPr>
              <a:t>Equipo Desarrollo </a:t>
            </a:r>
            <a:r>
              <a:rPr lang="en-US" sz="7150" dirty="0" err="1">
                <a:ea typeface="+mn-lt"/>
                <a:cs typeface="+mn-lt"/>
              </a:rPr>
              <a:t>Soporte</a:t>
            </a:r>
            <a:r>
              <a:rPr lang="en-US" sz="7150" dirty="0">
                <a:ea typeface="+mn-lt"/>
                <a:cs typeface="+mn-lt"/>
              </a:rPr>
              <a:t> Julio</a:t>
            </a:r>
          </a:p>
          <a:p>
            <a:endParaRPr lang="en-US" sz="71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17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19" name="Group 3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6297053"/>
              </p:ext>
            </p:extLst>
          </p:nvPr>
        </p:nvGraphicFramePr>
        <p:xfrm>
          <a:off x="669665" y="2689251"/>
          <a:ext cx="23031974" cy="11889867"/>
        </p:xfrm>
        <a:graphic>
          <a:graphicData uri="http://schemas.openxmlformats.org/drawingml/2006/table">
            <a:tbl>
              <a:tblPr/>
              <a:tblGrid>
                <a:gridCol w="4356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38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51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8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17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523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2800" b="1" cap="all" baseline="0" dirty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Proyecto </a:t>
                      </a:r>
                      <a:r>
                        <a:rPr lang="en-GB" sz="2800" b="1" cap="all" baseline="0" dirty="0" err="1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cliente</a:t>
                      </a:r>
                      <a:endParaRPr lang="en-GB" sz="2800" b="1" cap="all" baseline="0" dirty="0">
                        <a:solidFill>
                          <a:schemeClr val="bg1"/>
                        </a:solidFill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3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/>
                        </a:rPr>
                        <a:t>Status</a:t>
                      </a: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tividad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sponsabl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/>
                        </a:rPr>
                        <a:t>Due date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kumimoji="0"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MINED</a:t>
                      </a:r>
                      <a:endParaRPr lang="es-ES" dirty="0">
                        <a:solidFill>
                          <a:schemeClr val="accent2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endParaRPr lang="en-GB" sz="2400" b="0" i="0" u="none" strike="noStrike" cap="none" baseline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Calibri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rgbClr val="7F7F7F"/>
                        </a:buClr>
                        <a:buFont typeface="Arial,Sans-Serif" panose="05040102010807070707" pitchFamily="18" charset="2"/>
                        <a:buChar char="•"/>
                      </a:pPr>
                      <a:r>
                        <a:rPr kumimoji="0"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REUNIONES</a:t>
                      </a:r>
                      <a:endParaRPr kumimoji="0" lang="es-ES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  <a:p>
                      <a:pPr marL="342900" marR="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rgbClr val="7F7F7F"/>
                        </a:buClr>
                        <a:buFont typeface="Arial,Sans-Serif" panose="05040102010807070707" pitchFamily="18" charset="2"/>
                        <a:buChar char="•"/>
                      </a:pPr>
                      <a:r>
                        <a:rPr kumimoji="0" lang="es-E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CLOUD AWS (HOSTING)</a:t>
                      </a:r>
                      <a:endParaRPr kumimoji="0" lang="en-US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  <a:p>
                      <a:pPr marL="342900" marR="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rgbClr val="7F7F7F"/>
                        </a:buClr>
                        <a:buFont typeface="Arial,Sans-Serif" panose="05040102010807070707" pitchFamily="18" charset="2"/>
                        <a:buChar char="•"/>
                      </a:pPr>
                      <a:r>
                        <a:rPr kumimoji="0" lang="es-E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APLICACIONES</a:t>
                      </a:r>
                      <a:endParaRPr kumimoji="0" lang="en-US" sz="24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endParaRPr kumimoji="0" lang="en-US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Luis Vasquez.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Emely</a:t>
                      </a: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kumimoji="0"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Jesus</a:t>
                      </a:r>
                    </a:p>
                    <a:p>
                      <a:pPr marL="285750" marR="0" lvl="1" indent="-285750" algn="l" defTabSz="914447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Daniel</a:t>
                      </a:r>
                      <a:endParaRPr kumimoji="0" lang="en-US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</a:pPr>
                      <a:endParaRPr lang="en-US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endParaRPr kumimoji="0" lang="en-GB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  <a:defRPr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MICONNECT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(5 </a:t>
                      </a:r>
                      <a:r>
                        <a:rPr lang="en-GB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nodos</a:t>
                      </a: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)</a:t>
                      </a: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kumimoji="0"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CAMBIO EN LA API DE FACEBOOK (ACTUALMENTE SOLO PODEMOS MANDAR TEXTO)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 ,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tendremos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que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implementar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plantillas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base a las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nuevas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politicas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facebook</a:t>
                      </a:r>
                      <a:endParaRPr kumimoji="0" lang="en-US" sz="2400" b="0" i="0" u="none" strike="noStrike" cap="none" spc="0" normalizeH="0" baseline="0" noProof="0" dirty="0" err="1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Luis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rgbClr val="1A1D1F"/>
                        </a:buClr>
                        <a:buSzPct val="110000"/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Jesus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rgbClr val="1A1D1F"/>
                        </a:buClr>
                        <a:buSzPct val="110000"/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Daniel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endParaRPr kumimoji="0" lang="en-GB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MIVISUALIZATIÓN 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(2 </a:t>
                      </a:r>
                      <a:r>
                        <a:rPr lang="en-GB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nodos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kumimoji="0"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VITAPRO  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kumimoji="0"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CAPECO</a:t>
                      </a:r>
                      <a:r>
                        <a:rPr lang="en-GB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en-GB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Emely</a:t>
                      </a:r>
                      <a:endParaRPr kumimoji="0" lang="es-ES" sz="24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endParaRPr kumimoji="0" lang="en-GB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70395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Care - Word</a:t>
                      </a: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 Vision 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SIN FONTERAS</a:t>
                      </a: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MANTENIMIENTO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rgbClr val="1A1D1F"/>
                        </a:buClr>
                        <a:buSzPct val="110000"/>
                        <a:buFont typeface="Wingdings 3" panose="05040102010807070707" pitchFamily="18" charset="2"/>
                        <a:buChar char="}"/>
                      </a:pPr>
                      <a:r>
                        <a:rPr lang="en-US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CAMBIOS EN BASE DE DATOS (INCLUIDO SOPORTE)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rgbClr val="1A1D1F"/>
                        </a:buClr>
                        <a:buSzPct val="110000"/>
                        <a:buFont typeface="Wingdings 3" panose="05040102010807070707" pitchFamily="18" charset="2"/>
                        <a:buChar char="}"/>
                      </a:pPr>
                      <a:r>
                        <a:rPr lang="en-US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CARE </a:t>
                      </a:r>
                      <a:r>
                        <a:rPr lang="en-US" altLang="de-DE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solicito</a:t>
                      </a:r>
                      <a:r>
                        <a:rPr lang="en-US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sis </a:t>
                      </a:r>
                      <a:r>
                        <a:rPr lang="en-US" altLang="de-DE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fotos</a:t>
                      </a:r>
                      <a:r>
                        <a:rPr lang="en-US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altLang="de-DE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entregado</a:t>
                      </a:r>
                      <a:r>
                        <a:rPr lang="en-US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kumimoji="0"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Luis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For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Care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lang="en-GB" altLang="de-DE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828433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Care </a:t>
                      </a:r>
                      <a:r>
                        <a:rPr lang="en-GB" altLang="de-DE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Pecsico</a:t>
                      </a:r>
                      <a:endParaRPr lang="es-ES" sz="2400" b="0" i="0" u="none" strike="noStrike" cap="none" spc="0" normalizeH="0" baseline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  <a:p>
                      <a:pPr marL="0" marR="0" lvl="0" indent="0" algn="l" defTabSz="182843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Ella </a:t>
                      </a:r>
                      <a:r>
                        <a:rPr lang="en-GB" altLang="de-DE" sz="2400" b="0" i="0" u="none" strike="noStrike" cap="none" spc="0" normalizeH="0" baseline="0" noProof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alimenta</a:t>
                      </a: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 </a:t>
                      </a:r>
                      <a:r>
                        <a:rPr lang="en-GB" altLang="de-DE" sz="2400" b="0" i="0" u="none" strike="noStrike" cap="none" spc="0" normalizeH="0" baseline="0" noProof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el</a:t>
                      </a: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Montserrat Light"/>
                        </a:rPr>
                        <a:t> Mundo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lang="en-GB" altLang="de-DE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altLang="de-DE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Unacen</a:t>
                      </a:r>
                      <a:endParaRPr lang="en-GB" altLang="de-DE" sz="2400" b="0" i="0" u="none" strike="noStrike" cap="none" spc="0" normalizeH="0" baseline="0" noProof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s-ES" sz="2400" b="0" i="0" u="none" strike="noStrike" cap="none" spc="0" normalizeH="0" baseline="0" noProof="0" dirty="0" err="1">
                          <a:ln>
                            <a:noFill/>
                          </a:ln>
                          <a:effectLst/>
                          <a:uFillTx/>
                        </a:rPr>
                        <a:t>Ecocampamento</a:t>
                      </a:r>
                      <a:endParaRPr lang="en-GB" dirty="0" err="1"/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r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Arial"/>
                        <a:buChar char="•"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Fors se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entrego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la data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ya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estan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cerrando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b="0" i="0" u="none" strike="noStrike" cap="none" spc="0" normalizeH="0" baseline="0" noProof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proyecto</a:t>
                      </a: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US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/>
                        <a:buChar char="}"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</a:rPr>
                        <a:t>Luis</a:t>
                      </a:r>
                      <a:endParaRPr kumimoji="0" lang="en-US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endParaRPr kumimoji="0" lang="en-GB" altLang="de-DE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168812"/>
                  </a:ext>
                </a:extLst>
              </a:tr>
            </a:tbl>
          </a:graphicData>
        </a:graphic>
      </p:graphicFrame>
      <p:grpSp>
        <p:nvGrpSpPr>
          <p:cNvPr id="48" name="Grupo 47">
            <a:extLst>
              <a:ext uri="{FF2B5EF4-FFF2-40B4-BE49-F238E27FC236}">
                <a16:creationId xmlns:a16="http://schemas.microsoft.com/office/drawing/2014/main" id="{8754C96E-214C-40F9-BF2F-BE94C9BE1BDC}"/>
              </a:ext>
            </a:extLst>
          </p:cNvPr>
          <p:cNvGrpSpPr/>
          <p:nvPr/>
        </p:nvGrpSpPr>
        <p:grpSpPr>
          <a:xfrm>
            <a:off x="5857067" y="3600331"/>
            <a:ext cx="869610" cy="1537071"/>
            <a:chOff x="20525927" y="657533"/>
            <a:chExt cx="869610" cy="1537071"/>
          </a:xfrm>
        </p:grpSpPr>
        <p:sp>
          <p:nvSpPr>
            <p:cNvPr id="49" name="Rectangle: Rounded Corners 2">
              <a:extLst>
                <a:ext uri="{FF2B5EF4-FFF2-40B4-BE49-F238E27FC236}">
                  <a16:creationId xmlns:a16="http://schemas.microsoft.com/office/drawing/2014/main" id="{E4B76DEB-709E-4916-98BE-CAEE2A08D317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50" name="Group 24">
              <a:extLst>
                <a:ext uri="{FF2B5EF4-FFF2-40B4-BE49-F238E27FC236}">
                  <a16:creationId xmlns:a16="http://schemas.microsoft.com/office/drawing/2014/main" id="{48938970-ECE0-4535-9F58-59B3F629CC2A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51" name="Ellipse 96">
                <a:extLst>
                  <a:ext uri="{FF2B5EF4-FFF2-40B4-BE49-F238E27FC236}">
                    <a16:creationId xmlns:a16="http://schemas.microsoft.com/office/drawing/2014/main" id="{28DCC3B6-E3B8-49D8-9DD1-2118A2F39431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Ellipse 98">
                <a:extLst>
                  <a:ext uri="{FF2B5EF4-FFF2-40B4-BE49-F238E27FC236}">
                    <a16:creationId xmlns:a16="http://schemas.microsoft.com/office/drawing/2014/main" id="{7D5A2851-E24A-4580-9240-852E6A0B778D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Ellipse 97">
                <a:extLst>
                  <a:ext uri="{FF2B5EF4-FFF2-40B4-BE49-F238E27FC236}">
                    <a16:creationId xmlns:a16="http://schemas.microsoft.com/office/drawing/2014/main" id="{3D18D06B-21B3-4AAE-AA77-7E64193D91C6}"/>
                  </a:ext>
                </a:extLst>
              </p:cNvPr>
              <p:cNvSpPr/>
              <p:nvPr/>
            </p:nvSpPr>
            <p:spPr bwMode="gray">
              <a:xfrm>
                <a:off x="3005571" y="1807888"/>
                <a:ext cx="236276" cy="236273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0" name="Grupo 59">
            <a:extLst>
              <a:ext uri="{FF2B5EF4-FFF2-40B4-BE49-F238E27FC236}">
                <a16:creationId xmlns:a16="http://schemas.microsoft.com/office/drawing/2014/main" id="{C600B4F8-6243-4708-9A7A-DA76B2037B20}"/>
              </a:ext>
            </a:extLst>
          </p:cNvPr>
          <p:cNvGrpSpPr/>
          <p:nvPr/>
        </p:nvGrpSpPr>
        <p:grpSpPr>
          <a:xfrm>
            <a:off x="5857067" y="5596316"/>
            <a:ext cx="869610" cy="1537071"/>
            <a:chOff x="20525927" y="657533"/>
            <a:chExt cx="869610" cy="1537071"/>
          </a:xfrm>
        </p:grpSpPr>
        <p:sp>
          <p:nvSpPr>
            <p:cNvPr id="61" name="Rectangle: Rounded Corners 2">
              <a:extLst>
                <a:ext uri="{FF2B5EF4-FFF2-40B4-BE49-F238E27FC236}">
                  <a16:creationId xmlns:a16="http://schemas.microsoft.com/office/drawing/2014/main" id="{835212FA-72AF-4628-A3C8-A4A5043ACBBC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62" name="Group 24">
              <a:extLst>
                <a:ext uri="{FF2B5EF4-FFF2-40B4-BE49-F238E27FC236}">
                  <a16:creationId xmlns:a16="http://schemas.microsoft.com/office/drawing/2014/main" id="{19B4F496-2608-449F-8B1A-1D7FB654CB3C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63" name="Ellipse 96">
                <a:extLst>
                  <a:ext uri="{FF2B5EF4-FFF2-40B4-BE49-F238E27FC236}">
                    <a16:creationId xmlns:a16="http://schemas.microsoft.com/office/drawing/2014/main" id="{B6352982-8F23-4A49-8E18-9ADB623A2201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" name="Ellipse 98">
                <a:extLst>
                  <a:ext uri="{FF2B5EF4-FFF2-40B4-BE49-F238E27FC236}">
                    <a16:creationId xmlns:a16="http://schemas.microsoft.com/office/drawing/2014/main" id="{2BA78DBE-A114-4104-A52F-F7166CD86E34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Ellipse 97">
                <a:extLst>
                  <a:ext uri="{FF2B5EF4-FFF2-40B4-BE49-F238E27FC236}">
                    <a16:creationId xmlns:a16="http://schemas.microsoft.com/office/drawing/2014/main" id="{6A4674A4-5550-4488-AD28-6179DB25EB35}"/>
                  </a:ext>
                </a:extLst>
              </p:cNvPr>
              <p:cNvSpPr/>
              <p:nvPr/>
            </p:nvSpPr>
            <p:spPr bwMode="gray">
              <a:xfrm>
                <a:off x="3005571" y="2380343"/>
                <a:ext cx="236276" cy="236273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6" name="Grupo 65">
            <a:extLst>
              <a:ext uri="{FF2B5EF4-FFF2-40B4-BE49-F238E27FC236}">
                <a16:creationId xmlns:a16="http://schemas.microsoft.com/office/drawing/2014/main" id="{5BE00E0D-D416-445E-A3EF-4A90000FDC6E}"/>
              </a:ext>
            </a:extLst>
          </p:cNvPr>
          <p:cNvGrpSpPr/>
          <p:nvPr/>
        </p:nvGrpSpPr>
        <p:grpSpPr>
          <a:xfrm>
            <a:off x="5847287" y="7438764"/>
            <a:ext cx="869610" cy="1537071"/>
            <a:chOff x="20525927" y="657533"/>
            <a:chExt cx="869610" cy="1537071"/>
          </a:xfrm>
        </p:grpSpPr>
        <p:sp>
          <p:nvSpPr>
            <p:cNvPr id="67" name="Rectangle: Rounded Corners 2">
              <a:extLst>
                <a:ext uri="{FF2B5EF4-FFF2-40B4-BE49-F238E27FC236}">
                  <a16:creationId xmlns:a16="http://schemas.microsoft.com/office/drawing/2014/main" id="{42B9E598-50BC-4AAC-A313-6067B3F92E44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68" name="Group 24">
              <a:extLst>
                <a:ext uri="{FF2B5EF4-FFF2-40B4-BE49-F238E27FC236}">
                  <a16:creationId xmlns:a16="http://schemas.microsoft.com/office/drawing/2014/main" id="{3F5981A4-89E4-4A29-A08B-61EF1C5B7202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647385"/>
              <a:chOff x="3005571" y="1778390"/>
              <a:chExt cx="236276" cy="537687"/>
            </a:xfrm>
          </p:grpSpPr>
          <p:sp>
            <p:nvSpPr>
              <p:cNvPr id="69" name="Ellipse 96">
                <a:extLst>
                  <a:ext uri="{FF2B5EF4-FFF2-40B4-BE49-F238E27FC236}">
                    <a16:creationId xmlns:a16="http://schemas.microsoft.com/office/drawing/2014/main" id="{C3DF79A0-7284-4ED0-9236-3221F214787A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Ellipse 97">
                <a:extLst>
                  <a:ext uri="{FF2B5EF4-FFF2-40B4-BE49-F238E27FC236}">
                    <a16:creationId xmlns:a16="http://schemas.microsoft.com/office/drawing/2014/main" id="{FC153056-2DDA-4D2B-95BC-C5B6E2CAD4B9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72" name="Grupo 71">
            <a:extLst>
              <a:ext uri="{FF2B5EF4-FFF2-40B4-BE49-F238E27FC236}">
                <a16:creationId xmlns:a16="http://schemas.microsoft.com/office/drawing/2014/main" id="{BF61AC5A-7A0E-4BD5-AE22-6403918872EA}"/>
              </a:ext>
            </a:extLst>
          </p:cNvPr>
          <p:cNvGrpSpPr/>
          <p:nvPr/>
        </p:nvGrpSpPr>
        <p:grpSpPr>
          <a:xfrm>
            <a:off x="5857067" y="9332391"/>
            <a:ext cx="869610" cy="1537071"/>
            <a:chOff x="20525927" y="657533"/>
            <a:chExt cx="869610" cy="1537071"/>
          </a:xfrm>
        </p:grpSpPr>
        <p:sp>
          <p:nvSpPr>
            <p:cNvPr id="73" name="Rectangle: Rounded Corners 2">
              <a:extLst>
                <a:ext uri="{FF2B5EF4-FFF2-40B4-BE49-F238E27FC236}">
                  <a16:creationId xmlns:a16="http://schemas.microsoft.com/office/drawing/2014/main" id="{182C1425-3C1E-47D1-926E-9D23300C83CB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74" name="Group 24">
              <a:extLst>
                <a:ext uri="{FF2B5EF4-FFF2-40B4-BE49-F238E27FC236}">
                  <a16:creationId xmlns:a16="http://schemas.microsoft.com/office/drawing/2014/main" id="{22C7C3AB-3E79-43C0-BE88-129D6350BCEE}"/>
                </a:ext>
              </a:extLst>
            </p:cNvPr>
            <p:cNvGrpSpPr/>
            <p:nvPr/>
          </p:nvGrpSpPr>
          <p:grpSpPr>
            <a:xfrm>
              <a:off x="20779126" y="915896"/>
              <a:ext cx="362982" cy="1010364"/>
              <a:chOff x="3005571" y="1778331"/>
              <a:chExt cx="236276" cy="839160"/>
            </a:xfrm>
          </p:grpSpPr>
          <p:sp>
            <p:nvSpPr>
              <p:cNvPr id="75" name="Ellipse 96">
                <a:extLst>
                  <a:ext uri="{FF2B5EF4-FFF2-40B4-BE49-F238E27FC236}">
                    <a16:creationId xmlns:a16="http://schemas.microsoft.com/office/drawing/2014/main" id="{2E402485-3490-4AD0-A0CC-455E76B6A833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6" name="Ellipse 98">
                <a:extLst>
                  <a:ext uri="{FF2B5EF4-FFF2-40B4-BE49-F238E27FC236}">
                    <a16:creationId xmlns:a16="http://schemas.microsoft.com/office/drawing/2014/main" id="{C227CD1B-E3F4-4929-99F0-166CE2121F41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7" name="Ellipse 97">
                <a:extLst>
                  <a:ext uri="{FF2B5EF4-FFF2-40B4-BE49-F238E27FC236}">
                    <a16:creationId xmlns:a16="http://schemas.microsoft.com/office/drawing/2014/main" id="{E1D81480-0239-4665-8475-1A1D975D58ED}"/>
                  </a:ext>
                </a:extLst>
              </p:cNvPr>
              <p:cNvSpPr/>
              <p:nvPr/>
            </p:nvSpPr>
            <p:spPr bwMode="gray">
              <a:xfrm>
                <a:off x="3005571" y="1778331"/>
                <a:ext cx="236276" cy="236273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78" name="Grupo 77">
            <a:extLst>
              <a:ext uri="{FF2B5EF4-FFF2-40B4-BE49-F238E27FC236}">
                <a16:creationId xmlns:a16="http://schemas.microsoft.com/office/drawing/2014/main" id="{6FDD689B-4778-43CB-9B9C-863CC4F1CA25}"/>
              </a:ext>
            </a:extLst>
          </p:cNvPr>
          <p:cNvGrpSpPr/>
          <p:nvPr/>
        </p:nvGrpSpPr>
        <p:grpSpPr>
          <a:xfrm>
            <a:off x="5864395" y="11287097"/>
            <a:ext cx="869610" cy="1537071"/>
            <a:chOff x="20525927" y="657533"/>
            <a:chExt cx="869610" cy="1537071"/>
          </a:xfrm>
        </p:grpSpPr>
        <p:sp>
          <p:nvSpPr>
            <p:cNvPr id="79" name="Rectangle: Rounded Corners 2">
              <a:extLst>
                <a:ext uri="{FF2B5EF4-FFF2-40B4-BE49-F238E27FC236}">
                  <a16:creationId xmlns:a16="http://schemas.microsoft.com/office/drawing/2014/main" id="{038186D6-6706-4D0C-95E0-A3C680A439A7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80" name="Group 24">
              <a:extLst>
                <a:ext uri="{FF2B5EF4-FFF2-40B4-BE49-F238E27FC236}">
                  <a16:creationId xmlns:a16="http://schemas.microsoft.com/office/drawing/2014/main" id="{EFE91304-3EB8-409B-AE93-AE954B447F44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81" name="Ellipse 96">
                <a:extLst>
                  <a:ext uri="{FF2B5EF4-FFF2-40B4-BE49-F238E27FC236}">
                    <a16:creationId xmlns:a16="http://schemas.microsoft.com/office/drawing/2014/main" id="{24D4F977-75EB-45A5-915F-2E4753CDDB31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" name="Ellipse 98">
                <a:extLst>
                  <a:ext uri="{FF2B5EF4-FFF2-40B4-BE49-F238E27FC236}">
                    <a16:creationId xmlns:a16="http://schemas.microsoft.com/office/drawing/2014/main" id="{53529C5E-64DE-42AB-BB9C-9C43BF292D63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" name="Ellipse 97">
                <a:extLst>
                  <a:ext uri="{FF2B5EF4-FFF2-40B4-BE49-F238E27FC236}">
                    <a16:creationId xmlns:a16="http://schemas.microsoft.com/office/drawing/2014/main" id="{C0BC282B-99BD-4A01-9707-A1F528337F7D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4" name="Imagen 6" descr="Texto, Tabla&#10;&#10;Descripción generada automáticamente">
            <a:extLst>
              <a:ext uri="{FF2B5EF4-FFF2-40B4-BE49-F238E27FC236}">
                <a16:creationId xmlns:a16="http://schemas.microsoft.com/office/drawing/2014/main" id="{27B073B7-A2FC-BF94-B323-FDF0A7EA81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4268312" y="5691188"/>
            <a:ext cx="4820906" cy="1990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6441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4">
            <a:extLst>
              <a:ext uri="{FF2B5EF4-FFF2-40B4-BE49-F238E27FC236}">
                <a16:creationId xmlns:a16="http://schemas.microsoft.com/office/drawing/2014/main" id="{AB1080E2-352E-EAFB-B719-1432190458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4051959"/>
              </p:ext>
            </p:extLst>
          </p:nvPr>
        </p:nvGraphicFramePr>
        <p:xfrm>
          <a:off x="8584859" y="1543050"/>
          <a:ext cx="6458440" cy="3409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78" name="Diagrama 4">
            <a:extLst>
              <a:ext uri="{FF2B5EF4-FFF2-40B4-BE49-F238E27FC236}">
                <a16:creationId xmlns:a16="http://schemas.microsoft.com/office/drawing/2014/main" id="{A434A9D7-DB64-F831-0457-02FBD43A4A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0849902"/>
              </p:ext>
            </p:extLst>
          </p:nvPr>
        </p:nvGraphicFramePr>
        <p:xfrm>
          <a:off x="8584660" y="4743449"/>
          <a:ext cx="6458441" cy="396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2142" name="Diagrama 4">
            <a:extLst>
              <a:ext uri="{FF2B5EF4-FFF2-40B4-BE49-F238E27FC236}">
                <a16:creationId xmlns:a16="http://schemas.microsoft.com/office/drawing/2014/main" id="{DEF8E6B8-E548-9EAD-C32C-567D6A25A5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3517157"/>
              </p:ext>
            </p:extLst>
          </p:nvPr>
        </p:nvGraphicFramePr>
        <p:xfrm>
          <a:off x="15710842" y="2895599"/>
          <a:ext cx="7239693" cy="2571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2406" name="Diagrama 4">
            <a:extLst>
              <a:ext uri="{FF2B5EF4-FFF2-40B4-BE49-F238E27FC236}">
                <a16:creationId xmlns:a16="http://schemas.microsoft.com/office/drawing/2014/main" id="{A368DFBE-B2B2-3D8E-06A0-D2F69CB5DF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5804795"/>
              </p:ext>
            </p:extLst>
          </p:nvPr>
        </p:nvGraphicFramePr>
        <p:xfrm>
          <a:off x="15707612" y="3943349"/>
          <a:ext cx="7277800" cy="3981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sp>
        <p:nvSpPr>
          <p:cNvPr id="2643" name="Abrir llave 2642">
            <a:extLst>
              <a:ext uri="{FF2B5EF4-FFF2-40B4-BE49-F238E27FC236}">
                <a16:creationId xmlns:a16="http://schemas.microsoft.com/office/drawing/2014/main" id="{DC3FB910-6795-46D8-E3CD-670C4859B14B}"/>
              </a:ext>
            </a:extLst>
          </p:cNvPr>
          <p:cNvSpPr/>
          <p:nvPr/>
        </p:nvSpPr>
        <p:spPr>
          <a:xfrm>
            <a:off x="14184768" y="1752600"/>
            <a:ext cx="2270549" cy="6591300"/>
          </a:xfrm>
          <a:prstGeom prst="leftBrac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graphicFrame>
        <p:nvGraphicFramePr>
          <p:cNvPr id="2838" name="Diagrama 4">
            <a:extLst>
              <a:ext uri="{FF2B5EF4-FFF2-40B4-BE49-F238E27FC236}">
                <a16:creationId xmlns:a16="http://schemas.microsoft.com/office/drawing/2014/main" id="{624C3A7D-A27F-0E7A-54F5-FD6CC9EF31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3773846"/>
              </p:ext>
            </p:extLst>
          </p:nvPr>
        </p:nvGraphicFramePr>
        <p:xfrm>
          <a:off x="1075628" y="3390899"/>
          <a:ext cx="6172617" cy="3143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4700" name="Abrir llave 4699">
            <a:extLst>
              <a:ext uri="{FF2B5EF4-FFF2-40B4-BE49-F238E27FC236}">
                <a16:creationId xmlns:a16="http://schemas.microsoft.com/office/drawing/2014/main" id="{2F3B7B66-A9E7-D3A1-B41B-ADBD1C9AA910}"/>
              </a:ext>
            </a:extLst>
          </p:cNvPr>
          <p:cNvSpPr/>
          <p:nvPr/>
        </p:nvSpPr>
        <p:spPr>
          <a:xfrm>
            <a:off x="7435644" y="2400299"/>
            <a:ext cx="1698901" cy="5314950"/>
          </a:xfrm>
          <a:prstGeom prst="leftBrac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4820" name="Rectángulo 4819">
            <a:extLst>
              <a:ext uri="{FF2B5EF4-FFF2-40B4-BE49-F238E27FC236}">
                <a16:creationId xmlns:a16="http://schemas.microsoft.com/office/drawing/2014/main" id="{3F1E2C82-1C66-2F22-B648-3C41ABB16B3B}"/>
              </a:ext>
            </a:extLst>
          </p:cNvPr>
          <p:cNvSpPr/>
          <p:nvPr/>
        </p:nvSpPr>
        <p:spPr>
          <a:xfrm>
            <a:off x="886175" y="8933646"/>
            <a:ext cx="4534843" cy="95410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/>
            <a:r>
              <a:rPr lang="es-ES" sz="2800" dirty="0"/>
              <a:t>MIESTUDIANTE PENDIENTE</a:t>
            </a:r>
            <a:endParaRPr kumimoji="0" lang="es-ES" sz="2800" b="0" i="0" u="none" strike="noStrike" cap="none" spc="0" normalizeH="0" baseline="0" dirty="0">
              <a:ln>
                <a:noFill/>
              </a:ln>
              <a:solidFill>
                <a:srgbClr val="7F7F7F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2" name="Title 5">
            <a:extLst>
              <a:ext uri="{FF2B5EF4-FFF2-40B4-BE49-F238E27FC236}">
                <a16:creationId xmlns:a16="http://schemas.microsoft.com/office/drawing/2014/main" id="{0EBB4050-DC71-C4B4-8CEA-504DD42BC8E1}"/>
              </a:ext>
            </a:extLst>
          </p:cNvPr>
          <p:cNvSpPr txBox="1">
            <a:spLocks/>
          </p:cNvSpPr>
          <p:nvPr/>
        </p:nvSpPr>
        <p:spPr>
          <a:xfrm>
            <a:off x="-54424" y="468322"/>
            <a:ext cx="14342909" cy="9969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tIns="45720" rIns="45719" bIns="45720" anchor="b">
            <a:normAutofit lnSpcReduction="10000"/>
          </a:bodyPr>
          <a:lstStyle>
            <a:lvl1pPr marL="0" marR="0" indent="0" algn="ctr" defTabSz="1828343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994" b="0" i="0" u="none" strike="noStrike" cap="none" spc="0" baseline="0">
                <a:ln>
                  <a:noFill/>
                </a:ln>
                <a:solidFill>
                  <a:srgbClr val="7F7F7F"/>
                </a:solidFill>
                <a:uFillTx/>
                <a:latin typeface="+mn-lt"/>
                <a:ea typeface="+mn-ea"/>
                <a:cs typeface="+mn-cs"/>
                <a:sym typeface="Montserrat Light"/>
              </a:defRPr>
            </a:lvl1pPr>
            <a:lvl2pPr marL="0" marR="0" indent="0" algn="l" defTabSz="1828343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7F7F7F"/>
                </a:solidFill>
                <a:uFillTx/>
                <a:latin typeface="+mn-lt"/>
                <a:ea typeface="+mn-ea"/>
                <a:cs typeface="+mn-cs"/>
                <a:sym typeface="Montserrat Light"/>
              </a:defRPr>
            </a:lvl2pPr>
            <a:lvl3pPr marL="0" marR="0" indent="0" algn="l" defTabSz="1828343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7F7F7F"/>
                </a:solidFill>
                <a:uFillTx/>
                <a:latin typeface="+mn-lt"/>
                <a:ea typeface="+mn-ea"/>
                <a:cs typeface="+mn-cs"/>
                <a:sym typeface="Montserrat Light"/>
              </a:defRPr>
            </a:lvl3pPr>
            <a:lvl4pPr marL="0" marR="0" indent="0" algn="l" defTabSz="1828343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7F7F7F"/>
                </a:solidFill>
                <a:uFillTx/>
                <a:latin typeface="+mn-lt"/>
                <a:ea typeface="+mn-ea"/>
                <a:cs typeface="+mn-cs"/>
                <a:sym typeface="Montserrat Light"/>
              </a:defRPr>
            </a:lvl4pPr>
            <a:lvl5pPr marL="0" marR="0" indent="0" algn="l" defTabSz="1828343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7F7F7F"/>
                </a:solidFill>
                <a:uFillTx/>
                <a:latin typeface="+mn-lt"/>
                <a:ea typeface="+mn-ea"/>
                <a:cs typeface="+mn-cs"/>
                <a:sym typeface="Montserrat Light"/>
              </a:defRPr>
            </a:lvl5pPr>
            <a:lvl6pPr marL="0" marR="0" indent="0" algn="l" defTabSz="1828343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7F7F7F"/>
                </a:solidFill>
                <a:uFillTx/>
                <a:latin typeface="+mn-lt"/>
                <a:ea typeface="+mn-ea"/>
                <a:cs typeface="+mn-cs"/>
                <a:sym typeface="Montserrat Light"/>
              </a:defRPr>
            </a:lvl6pPr>
            <a:lvl7pPr marL="0" marR="0" indent="0" algn="l" defTabSz="1828343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7F7F7F"/>
                </a:solidFill>
                <a:uFillTx/>
                <a:latin typeface="+mn-lt"/>
                <a:ea typeface="+mn-ea"/>
                <a:cs typeface="+mn-cs"/>
                <a:sym typeface="Montserrat Light"/>
              </a:defRPr>
            </a:lvl7pPr>
            <a:lvl8pPr marL="0" marR="0" indent="0" algn="l" defTabSz="1828343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7F7F7F"/>
                </a:solidFill>
                <a:uFillTx/>
                <a:latin typeface="+mn-lt"/>
                <a:ea typeface="+mn-ea"/>
                <a:cs typeface="+mn-cs"/>
                <a:sym typeface="Montserrat Light"/>
              </a:defRPr>
            </a:lvl8pPr>
            <a:lvl9pPr marL="0" marR="0" indent="0" algn="l" defTabSz="1828343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ln>
                  <a:noFill/>
                </a:ln>
                <a:solidFill>
                  <a:srgbClr val="7F7F7F"/>
                </a:solidFill>
                <a:uFillTx/>
                <a:latin typeface="+mn-lt"/>
                <a:ea typeface="+mn-ea"/>
                <a:cs typeface="+mn-cs"/>
                <a:sym typeface="Montserrat Light"/>
              </a:defRPr>
            </a:lvl9pPr>
          </a:lstStyle>
          <a:p>
            <a:pPr hangingPunct="1"/>
            <a:r>
              <a:rPr lang="en-US" sz="7150" dirty="0" err="1"/>
              <a:t>Situación</a:t>
            </a:r>
            <a:r>
              <a:rPr lang="en-US" sz="7150" dirty="0"/>
              <a:t> actual al 01/07/2022</a:t>
            </a:r>
          </a:p>
        </p:txBody>
      </p:sp>
    </p:spTree>
    <p:extLst>
      <p:ext uri="{BB962C8B-B14F-4D97-AF65-F5344CB8AC3E}">
        <p14:creationId xmlns:p14="http://schemas.microsoft.com/office/powerpoint/2010/main" val="3098598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4268"/>
          <a:ext cx="3173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8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4268"/>
                        <a:ext cx="3173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7150" dirty="0"/>
              <a:t>Equipo Desarrollo </a:t>
            </a:r>
            <a:r>
              <a:rPr lang="en-US" sz="7150" dirty="0" err="1"/>
              <a:t>Soporte</a:t>
            </a:r>
            <a:r>
              <a:rPr lang="en-US" sz="7150" dirty="0"/>
              <a:t> Juli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19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19" name="Group 3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7344513"/>
              </p:ext>
            </p:extLst>
          </p:nvPr>
        </p:nvGraphicFramePr>
        <p:xfrm>
          <a:off x="669665" y="2689251"/>
          <a:ext cx="23031970" cy="6303538"/>
        </p:xfrm>
        <a:graphic>
          <a:graphicData uri="http://schemas.openxmlformats.org/drawingml/2006/table">
            <a:tbl>
              <a:tblPr/>
              <a:tblGrid>
                <a:gridCol w="48419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687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51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8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17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523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2800" b="1" cap="all" baseline="0" dirty="0" err="1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cliente</a:t>
                      </a: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3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/>
                        </a:rPr>
                        <a:t>Status</a:t>
                      </a: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tividad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sponsabl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/>
                        </a:rPr>
                        <a:t>Due date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kumimoji="0"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n-lt"/>
                          <a:cs typeface="Arial"/>
                        </a:rPr>
                        <a:t>M</a:t>
                      </a: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INED</a:t>
                      </a: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Arial"/>
                        <a:buChar char="•"/>
                      </a:pPr>
                      <a:r>
                        <a:rPr lang="en-US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REUNIONES</a:t>
                      </a:r>
                      <a:endParaRPr lang="es-ES" dirty="0"/>
                    </a:p>
                    <a:p>
                      <a:pPr marL="342900" marR="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Arial"/>
                        <a:buChar char="•"/>
                      </a:pPr>
                      <a:r>
                        <a:rPr lang="es-ES" dirty="0"/>
                        <a:t>CLOUD AWS</a:t>
                      </a:r>
                    </a:p>
                    <a:p>
                      <a:pPr marL="342900" marR="0" lvl="1" indent="-34290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Arial"/>
                        <a:buChar char="•"/>
                      </a:pPr>
                      <a:r>
                        <a:rPr lang="es-ES" dirty="0"/>
                        <a:t>APLICACIONES</a:t>
                      </a:r>
                    </a:p>
                    <a:p>
                      <a:pPr marL="0" marR="0" lvl="1" indent="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None/>
                      </a:pPr>
                      <a:endParaRPr lang="es-ES" dirty="0"/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endParaRPr kumimoji="0" lang="en-US" sz="2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marR="0" lvl="1" indent="-285750" algn="l" defTabSz="914447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  <a:tabLst/>
                      </a:pPr>
                      <a:endParaRPr lang="en-US" sz="2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</a:pPr>
                      <a:endParaRPr lang="en-US" sz="2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endParaRPr kumimoji="0"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Calibri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MICONNECT 5 NODOS</a:t>
                      </a:r>
                      <a:endParaRPr kumimoji="0" lang="en-GB" altLang="de-DE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Arial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1828433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3" panose="05040102010807070707" pitchFamily="18" charset="2"/>
                        <a:buChar char="}"/>
                        <a:tabLst/>
                      </a:pPr>
                      <a:endParaRPr lang="en-US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Arial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MICONNECT JESUS</a:t>
                      </a:r>
                      <a:endParaRPr kumimoji="0" lang="en-US" sz="2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2022-03-30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90638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MIVISUALIZATIÓN 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- VITAPRO (STOP)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en-GB" altLang="de-DE" sz="2400" b="0" i="0" u="none" strike="noStrike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</a:rPr>
                        <a:t>- CAPECO</a:t>
                      </a: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endParaRPr lang="en-GB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Arial"/>
                        <a:sym typeface="Montserrat Light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endParaRPr lang="en-US" sz="2400" b="0" i="0" u="none" strike="noStrike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FillTx/>
                        <a:latin typeface="+mn-lt"/>
                        <a:ea typeface="+mn-ea"/>
                        <a:cs typeface="Arial"/>
                        <a:sym typeface="Montserrat Light"/>
                      </a:endParaRPr>
                    </a:p>
                    <a:p>
                      <a:pPr marL="0" marR="0" lvl="1" indent="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4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CAPECO EMELY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  <a:tabLst/>
                      </a:pPr>
                      <a: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2020-04-30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br>
                        <a:rPr lang="en-GB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</a:br>
                      <a:endParaRPr lang="en-GB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Calibri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48" name="Grupo 47">
            <a:extLst>
              <a:ext uri="{FF2B5EF4-FFF2-40B4-BE49-F238E27FC236}">
                <a16:creationId xmlns:a16="http://schemas.microsoft.com/office/drawing/2014/main" id="{8754C96E-214C-40F9-BF2F-BE94C9BE1BDC}"/>
              </a:ext>
            </a:extLst>
          </p:cNvPr>
          <p:cNvGrpSpPr/>
          <p:nvPr/>
        </p:nvGrpSpPr>
        <p:grpSpPr>
          <a:xfrm>
            <a:off x="5857067" y="3600331"/>
            <a:ext cx="869610" cy="1537071"/>
            <a:chOff x="20525927" y="657533"/>
            <a:chExt cx="869610" cy="1537071"/>
          </a:xfrm>
        </p:grpSpPr>
        <p:sp>
          <p:nvSpPr>
            <p:cNvPr id="49" name="Rectangle: Rounded Corners 2">
              <a:extLst>
                <a:ext uri="{FF2B5EF4-FFF2-40B4-BE49-F238E27FC236}">
                  <a16:creationId xmlns:a16="http://schemas.microsoft.com/office/drawing/2014/main" id="{E4B76DEB-709E-4916-98BE-CAEE2A08D317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50" name="Group 24">
              <a:extLst>
                <a:ext uri="{FF2B5EF4-FFF2-40B4-BE49-F238E27FC236}">
                  <a16:creationId xmlns:a16="http://schemas.microsoft.com/office/drawing/2014/main" id="{48938970-ECE0-4535-9F58-59B3F629CC2A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51" name="Ellipse 96">
                <a:extLst>
                  <a:ext uri="{FF2B5EF4-FFF2-40B4-BE49-F238E27FC236}">
                    <a16:creationId xmlns:a16="http://schemas.microsoft.com/office/drawing/2014/main" id="{28DCC3B6-E3B8-49D8-9DD1-2118A2F39431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Ellipse 98">
                <a:extLst>
                  <a:ext uri="{FF2B5EF4-FFF2-40B4-BE49-F238E27FC236}">
                    <a16:creationId xmlns:a16="http://schemas.microsoft.com/office/drawing/2014/main" id="{7D5A2851-E24A-4580-9240-852E6A0B778D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Ellipse 97">
                <a:extLst>
                  <a:ext uri="{FF2B5EF4-FFF2-40B4-BE49-F238E27FC236}">
                    <a16:creationId xmlns:a16="http://schemas.microsoft.com/office/drawing/2014/main" id="{3D18D06B-21B3-4AAE-AA77-7E64193D91C6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rgbClr val="FFC00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0" name="Grupo 59">
            <a:extLst>
              <a:ext uri="{FF2B5EF4-FFF2-40B4-BE49-F238E27FC236}">
                <a16:creationId xmlns:a16="http://schemas.microsoft.com/office/drawing/2014/main" id="{C600B4F8-6243-4708-9A7A-DA76B2037B20}"/>
              </a:ext>
            </a:extLst>
          </p:cNvPr>
          <p:cNvGrpSpPr/>
          <p:nvPr/>
        </p:nvGrpSpPr>
        <p:grpSpPr>
          <a:xfrm>
            <a:off x="5857067" y="5889246"/>
            <a:ext cx="869610" cy="1537071"/>
            <a:chOff x="20525927" y="657533"/>
            <a:chExt cx="869610" cy="1537071"/>
          </a:xfrm>
        </p:grpSpPr>
        <p:sp>
          <p:nvSpPr>
            <p:cNvPr id="61" name="Rectangle: Rounded Corners 2">
              <a:extLst>
                <a:ext uri="{FF2B5EF4-FFF2-40B4-BE49-F238E27FC236}">
                  <a16:creationId xmlns:a16="http://schemas.microsoft.com/office/drawing/2014/main" id="{835212FA-72AF-4628-A3C8-A4A5043ACBBC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 defTabSz="1828162" hangingPunct="1"/>
              <a:endParaRPr lang="en-US" sz="3550" kern="1200" dirty="0">
                <a:highlight>
                  <a:srgbClr val="00FF00"/>
                </a:highlight>
                <a:latin typeface="Calibri"/>
              </a:endParaRPr>
            </a:p>
          </p:txBody>
        </p:sp>
        <p:grpSp>
          <p:nvGrpSpPr>
            <p:cNvPr id="62" name="Group 24">
              <a:extLst>
                <a:ext uri="{FF2B5EF4-FFF2-40B4-BE49-F238E27FC236}">
                  <a16:creationId xmlns:a16="http://schemas.microsoft.com/office/drawing/2014/main" id="{19B4F496-2608-449F-8B1A-1D7FB654CB3C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1010293"/>
              <a:chOff x="3005571" y="1778390"/>
              <a:chExt cx="236276" cy="839101"/>
            </a:xfrm>
          </p:grpSpPr>
          <p:sp>
            <p:nvSpPr>
              <p:cNvPr id="63" name="Ellipse 96">
                <a:extLst>
                  <a:ext uri="{FF2B5EF4-FFF2-40B4-BE49-F238E27FC236}">
                    <a16:creationId xmlns:a16="http://schemas.microsoft.com/office/drawing/2014/main" id="{B6352982-8F23-4A49-8E18-9ADB623A2201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91440" tIns="45720" rIns="91440" bIns="45720" anchor="t"/>
              <a:lstStyle/>
              <a:p>
                <a:pPr defTabSz="1828162" hangingPunct="1"/>
                <a:endParaRPr lang="en-US" sz="3550" kern="1200" dirty="0">
                  <a:solidFill>
                    <a:srgbClr val="00FE00"/>
                  </a:solidFill>
                  <a:highlight>
                    <a:srgbClr val="00FF00"/>
                  </a:highlight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" name="Ellipse 98">
                <a:extLst>
                  <a:ext uri="{FF2B5EF4-FFF2-40B4-BE49-F238E27FC236}">
                    <a16:creationId xmlns:a16="http://schemas.microsoft.com/office/drawing/2014/main" id="{2BA78DBE-A114-4104-A52F-F7166CD86E34}"/>
                  </a:ext>
                </a:extLst>
              </p:cNvPr>
              <p:cNvSpPr/>
              <p:nvPr/>
            </p:nvSpPr>
            <p:spPr bwMode="gray">
              <a:xfrm>
                <a:off x="3005571" y="2381218"/>
                <a:ext cx="236276" cy="236273"/>
              </a:xfrm>
              <a:prstGeom prst="ellipse">
                <a:avLst/>
              </a:prstGeom>
              <a:solidFill>
                <a:schemeClr val="bg1">
                  <a:lumMod val="85000"/>
                  <a:alpha val="35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lIns="91440" tIns="45720" rIns="91440" bIns="45720" anchor="t"/>
              <a:lstStyle/>
              <a:p>
                <a:pPr defTabSz="1828162" hangingPunct="1"/>
                <a:endParaRPr lang="en-US" sz="3550" kern="1200" dirty="0">
                  <a:highlight>
                    <a:srgbClr val="00FF00"/>
                  </a:highlight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Ellipse 97">
                <a:extLst>
                  <a:ext uri="{FF2B5EF4-FFF2-40B4-BE49-F238E27FC236}">
                    <a16:creationId xmlns:a16="http://schemas.microsoft.com/office/drawing/2014/main" id="{6A4674A4-5550-4488-AD28-6179DB25EB35}"/>
                  </a:ext>
                </a:extLst>
              </p:cNvPr>
              <p:cNvSpPr/>
              <p:nvPr/>
            </p:nvSpPr>
            <p:spPr bwMode="gray">
              <a:xfrm>
                <a:off x="3005571" y="1793577"/>
                <a:ext cx="236276" cy="236273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91440" tIns="45720" rIns="91440" bIns="45720" anchor="t"/>
              <a:lstStyle/>
              <a:p>
                <a:pPr defTabSz="1828162" hangingPunct="1"/>
                <a:endParaRPr lang="en-US" sz="3550" kern="1200" dirty="0">
                  <a:highlight>
                    <a:srgbClr val="00FF00"/>
                  </a:highlight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6" name="Grupo 65">
            <a:extLst>
              <a:ext uri="{FF2B5EF4-FFF2-40B4-BE49-F238E27FC236}">
                <a16:creationId xmlns:a16="http://schemas.microsoft.com/office/drawing/2014/main" id="{5BE00E0D-D416-445E-A3EF-4A90000FDC6E}"/>
              </a:ext>
            </a:extLst>
          </p:cNvPr>
          <p:cNvGrpSpPr/>
          <p:nvPr/>
        </p:nvGrpSpPr>
        <p:grpSpPr>
          <a:xfrm>
            <a:off x="5847287" y="7817849"/>
            <a:ext cx="869610" cy="1537071"/>
            <a:chOff x="20525927" y="657533"/>
            <a:chExt cx="869610" cy="1537071"/>
          </a:xfrm>
        </p:grpSpPr>
        <p:sp>
          <p:nvSpPr>
            <p:cNvPr id="67" name="Rectangle: Rounded Corners 2">
              <a:extLst>
                <a:ext uri="{FF2B5EF4-FFF2-40B4-BE49-F238E27FC236}">
                  <a16:creationId xmlns:a16="http://schemas.microsoft.com/office/drawing/2014/main" id="{42B9E598-50BC-4AAC-A313-6067B3F92E44}"/>
                </a:ext>
              </a:extLst>
            </p:cNvPr>
            <p:cNvSpPr/>
            <p:nvPr/>
          </p:nvSpPr>
          <p:spPr>
            <a:xfrm>
              <a:off x="20525927" y="657533"/>
              <a:ext cx="869610" cy="1537071"/>
            </a:xfrm>
            <a:prstGeom prst="roundRect">
              <a:avLst>
                <a:gd name="adj" fmla="val 18127"/>
              </a:avLst>
            </a:prstGeom>
            <a:solidFill>
              <a:schemeClr val="accent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162" hangingPunct="1"/>
              <a:endParaRPr lang="en-US" sz="3599" kern="120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68" name="Group 24">
              <a:extLst>
                <a:ext uri="{FF2B5EF4-FFF2-40B4-BE49-F238E27FC236}">
                  <a16:creationId xmlns:a16="http://schemas.microsoft.com/office/drawing/2014/main" id="{3F5981A4-89E4-4A29-A08B-61EF1C5B7202}"/>
                </a:ext>
              </a:extLst>
            </p:cNvPr>
            <p:cNvGrpSpPr/>
            <p:nvPr/>
          </p:nvGrpSpPr>
          <p:grpSpPr>
            <a:xfrm>
              <a:off x="20779126" y="915967"/>
              <a:ext cx="362982" cy="647385"/>
              <a:chOff x="3005571" y="1778390"/>
              <a:chExt cx="236276" cy="537687"/>
            </a:xfrm>
          </p:grpSpPr>
          <p:sp>
            <p:nvSpPr>
              <p:cNvPr id="69" name="Ellipse 96">
                <a:extLst>
                  <a:ext uri="{FF2B5EF4-FFF2-40B4-BE49-F238E27FC236}">
                    <a16:creationId xmlns:a16="http://schemas.microsoft.com/office/drawing/2014/main" id="{C3DF79A0-7284-4ED0-9236-3221F214787A}"/>
                  </a:ext>
                </a:extLst>
              </p:cNvPr>
              <p:cNvSpPr/>
              <p:nvPr/>
            </p:nvSpPr>
            <p:spPr bwMode="gray">
              <a:xfrm>
                <a:off x="3005571" y="1778390"/>
                <a:ext cx="236275" cy="236273"/>
              </a:xfrm>
              <a:prstGeom prst="ellipse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solidFill>
                  <a:schemeClr val="accent5">
                    <a:lumMod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Ellipse 97">
                <a:extLst>
                  <a:ext uri="{FF2B5EF4-FFF2-40B4-BE49-F238E27FC236}">
                    <a16:creationId xmlns:a16="http://schemas.microsoft.com/office/drawing/2014/main" id="{FC153056-2DDA-4D2B-95BC-C5B6E2CAD4B9}"/>
                  </a:ext>
                </a:extLst>
              </p:cNvPr>
              <p:cNvSpPr/>
              <p:nvPr/>
            </p:nvSpPr>
            <p:spPr bwMode="gray">
              <a:xfrm>
                <a:off x="3005571" y="2079804"/>
                <a:ext cx="236276" cy="236273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defTabSz="1828162" hangingPunct="1"/>
                <a:endParaRPr lang="en-US" sz="3599" kern="1200">
                  <a:solidFill>
                    <a:prstClr val="black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" name="Ellipse 97">
            <a:extLst>
              <a:ext uri="{FF2B5EF4-FFF2-40B4-BE49-F238E27FC236}">
                <a16:creationId xmlns:a16="http://schemas.microsoft.com/office/drawing/2014/main" id="{D81DA023-2DB9-CC56-2EFF-78D750C1F3F0}"/>
              </a:ext>
            </a:extLst>
          </p:cNvPr>
          <p:cNvSpPr/>
          <p:nvPr/>
        </p:nvSpPr>
        <p:spPr bwMode="gray">
          <a:xfrm>
            <a:off x="6097765" y="8850058"/>
            <a:ext cx="362982" cy="284477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defTabSz="1828162" hangingPunct="1"/>
            <a:endParaRPr lang="en-US" sz="3599" kern="120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Ellipse 98">
            <a:extLst>
              <a:ext uri="{FF2B5EF4-FFF2-40B4-BE49-F238E27FC236}">
                <a16:creationId xmlns:a16="http://schemas.microsoft.com/office/drawing/2014/main" id="{FDBFE5C2-FB6D-0978-53DE-E9DCC4A27CB1}"/>
              </a:ext>
            </a:extLst>
          </p:cNvPr>
          <p:cNvSpPr/>
          <p:nvPr/>
        </p:nvSpPr>
        <p:spPr bwMode="gray">
          <a:xfrm>
            <a:off x="6107545" y="6577886"/>
            <a:ext cx="362982" cy="284477"/>
          </a:xfrm>
          <a:prstGeom prst="ellipse">
            <a:avLst/>
          </a:prstGeom>
          <a:solidFill>
            <a:schemeClr val="bg1">
              <a:lumMod val="85000"/>
              <a:alpha val="35000"/>
            </a:schemeClr>
          </a:solidFill>
          <a:ln w="12700">
            <a:noFill/>
            <a:round/>
            <a:headEnd/>
            <a:tailEnd/>
          </a:ln>
          <a:effectLst/>
        </p:spPr>
        <p:txBody>
          <a:bodyPr lIns="91440" tIns="45720" rIns="91440" bIns="45720" anchor="t"/>
          <a:lstStyle/>
          <a:p>
            <a:pPr defTabSz="1828162" hangingPunct="1"/>
            <a:endParaRPr lang="en-US" sz="3550" kern="1200" dirty="0">
              <a:highlight>
                <a:srgbClr val="00FF00"/>
              </a:highlight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0" name="Tabla 10">
            <a:extLst>
              <a:ext uri="{FF2B5EF4-FFF2-40B4-BE49-F238E27FC236}">
                <a16:creationId xmlns:a16="http://schemas.microsoft.com/office/drawing/2014/main" id="{86D66BDF-28FB-0AD9-02E3-7FD9DF9274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5827900"/>
              </p:ext>
            </p:extLst>
          </p:nvPr>
        </p:nvGraphicFramePr>
        <p:xfrm>
          <a:off x="723900" y="8960201"/>
          <a:ext cx="22932617" cy="37910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59185">
                  <a:extLst>
                    <a:ext uri="{9D8B030D-6E8A-4147-A177-3AD203B41FA5}">
                      <a16:colId xmlns:a16="http://schemas.microsoft.com/office/drawing/2014/main" val="1739379236"/>
                    </a:ext>
                  </a:extLst>
                </a:gridCol>
                <a:gridCol w="10058173">
                  <a:extLst>
                    <a:ext uri="{9D8B030D-6E8A-4147-A177-3AD203B41FA5}">
                      <a16:colId xmlns:a16="http://schemas.microsoft.com/office/drawing/2014/main" val="1740878105"/>
                    </a:ext>
                  </a:extLst>
                </a:gridCol>
                <a:gridCol w="4044500">
                  <a:extLst>
                    <a:ext uri="{9D8B030D-6E8A-4147-A177-3AD203B41FA5}">
                      <a16:colId xmlns:a16="http://schemas.microsoft.com/office/drawing/2014/main" val="981444711"/>
                    </a:ext>
                  </a:extLst>
                </a:gridCol>
                <a:gridCol w="3970759">
                  <a:extLst>
                    <a:ext uri="{9D8B030D-6E8A-4147-A177-3AD203B41FA5}">
                      <a16:colId xmlns:a16="http://schemas.microsoft.com/office/drawing/2014/main" val="2988905895"/>
                    </a:ext>
                  </a:extLst>
                </a:gridCol>
              </a:tblGrid>
              <a:tr h="1263695">
                <a:tc>
                  <a:txBody>
                    <a:bodyPr/>
                    <a:lstStyle/>
                    <a:p>
                      <a:pPr algn="l"/>
                      <a:r>
                        <a:rPr lang="es-ES" sz="2400" b="0" i="0" u="none" strike="noStrike" cap="none" spc="0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Wordvision</a:t>
                      </a:r>
                      <a:r>
                        <a:rPr lang="es-ES" sz="24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 y care (</a:t>
                      </a:r>
                      <a:r>
                        <a:rPr lang="es-ES" sz="2400" b="0" i="0" u="none" strike="noStrike" cap="none" spc="0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sinfronteras</a:t>
                      </a:r>
                      <a:r>
                        <a:rPr lang="es-ES" sz="24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FillTx/>
                          <a:latin typeface="+mn-lt"/>
                          <a:ea typeface="+mn-ea"/>
                          <a:cs typeface="Arial"/>
                          <a:sym typeface="Montserrat Light"/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1051958"/>
                  </a:ext>
                </a:extLst>
              </a:tr>
              <a:tr h="1263695">
                <a:tc>
                  <a:txBody>
                    <a:bodyPr/>
                    <a:lstStyle/>
                    <a:p>
                      <a:pPr algn="l"/>
                      <a:r>
                        <a:rPr lang="es-ES" dirty="0" err="1"/>
                        <a:t>Ellaaminenta</a:t>
                      </a:r>
                      <a:r>
                        <a:rPr lang="es-ES" dirty="0"/>
                        <a:t> el mundo (C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6545418"/>
                  </a:ext>
                </a:extLst>
              </a:tr>
              <a:tr h="1263695">
                <a:tc>
                  <a:txBody>
                    <a:bodyPr/>
                    <a:lstStyle/>
                    <a:p>
                      <a:r>
                        <a:rPr lang="es-ES" dirty="0" err="1"/>
                        <a:t>Ecocampamento</a:t>
                      </a:r>
                    </a:p>
                    <a:p>
                      <a:pPr lvl="0">
                        <a:buNone/>
                      </a:pPr>
                      <a:r>
                        <a:rPr lang="es-ES" dirty="0"/>
                        <a:t>Fors (cerrando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Entrega de data </a:t>
                      </a:r>
                      <a:r>
                        <a:rPr lang="es-ES" dirty="0" err="1"/>
                        <a:t>fors</a:t>
                      </a:r>
                      <a:r>
                        <a:rPr lang="es-ES" dirty="0"/>
                        <a:t> (cerrado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26687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61369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2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8397490"/>
              </p:ext>
            </p:extLst>
          </p:nvPr>
        </p:nvGraphicFramePr>
        <p:xfrm>
          <a:off x="672861" y="81371"/>
          <a:ext cx="23929674" cy="133018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7" name="Group 347">
            <a:extLst>
              <a:ext uri="{FF2B5EF4-FFF2-40B4-BE49-F238E27FC236}">
                <a16:creationId xmlns:a16="http://schemas.microsoft.com/office/drawing/2014/main" id="{3E422F13-F813-494E-97B0-C8F52541C951}"/>
              </a:ext>
            </a:extLst>
          </p:cNvPr>
          <p:cNvGrpSpPr/>
          <p:nvPr/>
        </p:nvGrpSpPr>
        <p:grpSpPr>
          <a:xfrm>
            <a:off x="1227208" y="1955055"/>
            <a:ext cx="21917334" cy="10364319"/>
            <a:chOff x="624629" y="3114070"/>
            <a:chExt cx="10962950" cy="5184183"/>
          </a:xfrm>
        </p:grpSpPr>
        <p:grpSp>
          <p:nvGrpSpPr>
            <p:cNvPr id="8" name="Group 335">
              <a:extLst>
                <a:ext uri="{FF2B5EF4-FFF2-40B4-BE49-F238E27FC236}">
                  <a16:creationId xmlns:a16="http://schemas.microsoft.com/office/drawing/2014/main" id="{15387C8F-8015-4FB6-B7E4-7DCCBABB2A1E}"/>
                </a:ext>
              </a:extLst>
            </p:cNvPr>
            <p:cNvGrpSpPr/>
            <p:nvPr/>
          </p:nvGrpSpPr>
          <p:grpSpPr>
            <a:xfrm>
              <a:off x="624629" y="3114070"/>
              <a:ext cx="10962728" cy="4910646"/>
              <a:chOff x="624629" y="3114070"/>
              <a:chExt cx="10962728" cy="4910646"/>
            </a:xfrm>
          </p:grpSpPr>
          <p:grpSp>
            <p:nvGrpSpPr>
              <p:cNvPr id="20" name="Group 325">
                <a:extLst>
                  <a:ext uri="{FF2B5EF4-FFF2-40B4-BE49-F238E27FC236}">
                    <a16:creationId xmlns:a16="http://schemas.microsoft.com/office/drawing/2014/main" id="{A6961A68-1F6C-4D5A-B377-199D951CF808}"/>
                  </a:ext>
                </a:extLst>
              </p:cNvPr>
              <p:cNvGrpSpPr/>
              <p:nvPr/>
            </p:nvGrpSpPr>
            <p:grpSpPr>
              <a:xfrm>
                <a:off x="624629" y="3114070"/>
                <a:ext cx="2400233" cy="4910646"/>
                <a:chOff x="624840" y="2768407"/>
                <a:chExt cx="2025639" cy="3697033"/>
              </a:xfrm>
            </p:grpSpPr>
            <p:sp>
              <p:nvSpPr>
                <p:cNvPr id="24" name="TextBox 323">
                  <a:extLst>
                    <a:ext uri="{FF2B5EF4-FFF2-40B4-BE49-F238E27FC236}">
                      <a16:creationId xmlns:a16="http://schemas.microsoft.com/office/drawing/2014/main" id="{2EDF402C-7891-4142-A649-F141FC5BD546}"/>
                    </a:ext>
                  </a:extLst>
                </p:cNvPr>
                <p:cNvSpPr txBox="1"/>
                <p:nvPr/>
              </p:nvSpPr>
              <p:spPr>
                <a:xfrm>
                  <a:off x="624840" y="3161318"/>
                  <a:ext cx="2025639" cy="330412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143944" tIns="71972" rIns="143944" bIns="143944" rtlCol="0">
                  <a:spAutoFit/>
                </a:bodyPr>
                <a:lstStyle/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400" u="sng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Ventas</a:t>
                  </a:r>
                </a:p>
                <a:p>
                  <a:pPr lvl="3" indent="0">
                    <a:buClr>
                      <a:srgbClr val="09244C"/>
                    </a:buClr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      Carmen Abad</a:t>
                  </a:r>
                </a:p>
                <a:p>
                  <a:pPr lvl="3" indent="0">
                    <a:buClr>
                      <a:srgbClr val="09244C"/>
                    </a:buClr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      Verónica Castro</a:t>
                  </a:r>
                </a:p>
                <a:p>
                  <a:pPr lvl="3" indent="0">
                    <a:buClr>
                      <a:srgbClr val="09244C"/>
                    </a:buClr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       </a:t>
                  </a: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highlight>
                        <a:srgbClr val="C0C0C0"/>
                      </a:highlight>
                    </a:rPr>
                    <a:t>Alfredo Garcia</a:t>
                  </a: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endParaRPr lang="en-US" sz="1200" u="sng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400" u="sng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Post </a:t>
                  </a:r>
                  <a:r>
                    <a:rPr lang="en-US" sz="2400" u="sng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Venta</a:t>
                  </a:r>
                  <a:endParaRPr lang="en-US" sz="2400" u="sng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indent="542925">
                    <a:buClr>
                      <a:srgbClr val="09244C"/>
                    </a:buClr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Pamela Rivas</a:t>
                  </a: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endParaRPr lang="en-US" sz="800" u="sng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>
                    <a:buClr>
                      <a:srgbClr val="09244C"/>
                    </a:buClr>
                  </a:pPr>
                  <a:endPara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400" u="sng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Aliados y Fabricantes – Gestión Comercial (Funnels)</a:t>
                  </a:r>
                </a:p>
                <a:p>
                  <a:pPr lvl="1" indent="617538">
                    <a:buClr>
                      <a:srgbClr val="09244C"/>
                    </a:buClr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CAPECO</a:t>
                  </a:r>
                </a:p>
                <a:p>
                  <a:pPr lvl="1" indent="617538">
                    <a:buClr>
                      <a:srgbClr val="09244C"/>
                    </a:buClr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Millennial Chile</a:t>
                  </a:r>
                </a:p>
                <a:p>
                  <a:pPr lvl="1" indent="617538">
                    <a:buClr>
                      <a:srgbClr val="09244C"/>
                    </a:buClr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Invictus Alliance</a:t>
                  </a:r>
                </a:p>
                <a:p>
                  <a:pPr lvl="1" indent="617538">
                    <a:buClr>
                      <a:srgbClr val="09244C"/>
                    </a:buClr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Huawei</a:t>
                  </a: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endParaRPr lang="en-US" sz="800" u="sng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400" u="sng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Social Media (LinkedIn)</a:t>
                  </a:r>
                </a:p>
                <a:p>
                  <a:pPr>
                    <a:buClr>
                      <a:srgbClr val="09244C"/>
                    </a:buClr>
                  </a:pPr>
                  <a:r>
                    <a:rPr lang="en-US" sz="2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        André</a:t>
                  </a:r>
                </a:p>
                <a:p>
                  <a:pPr>
                    <a:buClr>
                      <a:srgbClr val="09244C"/>
                    </a:buClr>
                  </a:pPr>
                  <a:endParaRPr lang="en-US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>
                    <a:buClr>
                      <a:srgbClr val="09244C"/>
                    </a:buClr>
                  </a:pPr>
                  <a:endParaRPr lang="en-US" sz="2400" dirty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endParaRP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400" u="sng" dirty="0">
                      <a:solidFill>
                        <a:schemeClr val="tx1"/>
                      </a:solidFill>
                    </a:rPr>
                    <a:t>Proyectos </a:t>
                  </a:r>
                  <a:r>
                    <a:rPr lang="en-US" sz="2400" u="sng" dirty="0" err="1">
                      <a:solidFill>
                        <a:schemeClr val="tx1"/>
                      </a:solidFill>
                    </a:rPr>
                    <a:t>Especiales</a:t>
                  </a:r>
                  <a:r>
                    <a:rPr lang="en-US" sz="2400" u="sng" dirty="0">
                      <a:solidFill>
                        <a:schemeClr val="tx1"/>
                      </a:solidFill>
                    </a:rPr>
                    <a:t> – Gestión Comercial </a:t>
                  </a:r>
                </a:p>
                <a:p>
                  <a:pPr>
                    <a:buClr>
                      <a:srgbClr val="09244C"/>
                    </a:buClr>
                  </a:pPr>
                  <a:r>
                    <a:rPr lang="en-US" sz="2400" dirty="0">
                      <a:solidFill>
                        <a:schemeClr val="tx1"/>
                      </a:solidFill>
                    </a:rPr>
                    <a:t>        CAPECO (Ventas) </a:t>
                  </a:r>
                </a:p>
                <a:p>
                  <a:pPr>
                    <a:buClr>
                      <a:srgbClr val="09244C"/>
                    </a:buClr>
                  </a:pPr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endParaRPr lang="en-US" sz="2400" u="sng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  <a:p>
                  <a:pPr>
                    <a:buClr>
                      <a:srgbClr val="09244C"/>
                    </a:buClr>
                  </a:pPr>
                  <a:endParaRPr lang="en-US" sz="2799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25" name="_content">
                  <a:extLst>
                    <a:ext uri="{FF2B5EF4-FFF2-40B4-BE49-F238E27FC236}">
                      <a16:creationId xmlns:a16="http://schemas.microsoft.com/office/drawing/2014/main" id="{7BA2CECD-942A-4B71-AE67-959EE743A0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626358" y="2768407"/>
                  <a:ext cx="2024121" cy="337797"/>
                </a:xfrm>
                <a:prstGeom prst="round2SameRect">
                  <a:avLst>
                    <a:gd name="adj1" fmla="val 22906"/>
                    <a:gd name="adj2" fmla="val 0"/>
                  </a:avLst>
                </a:prstGeom>
                <a:solidFill>
                  <a:schemeClr val="accent5">
                    <a:lumMod val="50000"/>
                  </a:schemeClr>
                </a:solidFill>
                <a:ln w="12700" algn="ctr">
                  <a:noFill/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1872993">
                    <a:defRPr/>
                  </a:pPr>
                  <a:endParaRPr lang="en-US" sz="2799" b="1" noProof="1">
                    <a:solidFill>
                      <a:schemeClr val="bg1"/>
                    </a:solidFill>
                    <a:cs typeface="Arial" charset="0"/>
                  </a:endParaRPr>
                </a:p>
                <a:p>
                  <a:pPr algn="ctr" defTabSz="1872993">
                    <a:defRPr/>
                  </a:pPr>
                  <a:r>
                    <a:rPr lang="en-US" sz="2799" b="1" noProof="1">
                      <a:solidFill>
                        <a:schemeClr val="bg1"/>
                      </a:solidFill>
                      <a:cs typeface="Arial" charset="0"/>
                    </a:rPr>
                    <a:t>Comercial</a:t>
                  </a:r>
                </a:p>
                <a:p>
                  <a:pPr algn="ctr" defTabSz="1872993">
                    <a:defRPr/>
                  </a:pPr>
                  <a:r>
                    <a:rPr lang="en-US" sz="2799" b="1" noProof="1">
                      <a:solidFill>
                        <a:schemeClr val="bg1"/>
                      </a:solidFill>
                      <a:cs typeface="Arial" charset="0"/>
                    </a:rPr>
                    <a:t>  Carmen Abad  </a:t>
                  </a:r>
                </a:p>
                <a:p>
                  <a:pPr algn="ctr" defTabSz="1872993">
                    <a:lnSpc>
                      <a:spcPct val="95000"/>
                    </a:lnSpc>
                    <a:spcAft>
                      <a:spcPts val="1869"/>
                    </a:spcAft>
                    <a:defRPr/>
                  </a:pPr>
                  <a:r>
                    <a:rPr lang="en-US" sz="2799" b="1" noProof="1">
                      <a:solidFill>
                        <a:schemeClr val="bg1"/>
                      </a:solidFill>
                      <a:cs typeface="Arial" charset="0"/>
                    </a:rPr>
                    <a:t>s</a:t>
                  </a:r>
                </a:p>
              </p:txBody>
            </p:sp>
          </p:grpSp>
          <p:grpSp>
            <p:nvGrpSpPr>
              <p:cNvPr id="21" name="Group 330">
                <a:extLst>
                  <a:ext uri="{FF2B5EF4-FFF2-40B4-BE49-F238E27FC236}">
                    <a16:creationId xmlns:a16="http://schemas.microsoft.com/office/drawing/2014/main" id="{85F59EC6-1258-4264-8F48-683D0FD7BBD8}"/>
                  </a:ext>
                </a:extLst>
              </p:cNvPr>
              <p:cNvGrpSpPr/>
              <p:nvPr/>
            </p:nvGrpSpPr>
            <p:grpSpPr>
              <a:xfrm>
                <a:off x="9675404" y="4570630"/>
                <a:ext cx="1911953" cy="968763"/>
                <a:chOff x="8263100" y="2899614"/>
                <a:chExt cx="1613563" cy="729342"/>
              </a:xfrm>
            </p:grpSpPr>
            <p:sp>
              <p:nvSpPr>
                <p:cNvPr id="22" name="TextBox 331">
                  <a:extLst>
                    <a:ext uri="{FF2B5EF4-FFF2-40B4-BE49-F238E27FC236}">
                      <a16:creationId xmlns:a16="http://schemas.microsoft.com/office/drawing/2014/main" id="{DC8416BB-861D-4A3D-A58B-78C5ECC667B1}"/>
                    </a:ext>
                  </a:extLst>
                </p:cNvPr>
                <p:cNvSpPr txBox="1"/>
                <p:nvPr/>
              </p:nvSpPr>
              <p:spPr>
                <a:xfrm>
                  <a:off x="8263100" y="3222425"/>
                  <a:ext cx="1613559" cy="40653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143944" tIns="71972" rIns="143944" bIns="143944" rtlCol="0">
                  <a:spAutoFit/>
                </a:bodyPr>
                <a:lstStyle/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799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Tom Masgo</a:t>
                  </a: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799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Sonia </a:t>
                  </a:r>
                  <a:r>
                    <a:rPr lang="en-US" sz="2799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Caparachin</a:t>
                  </a:r>
                  <a:endParaRPr lang="en-US" sz="2799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23" name="_content">
                  <a:extLst>
                    <a:ext uri="{FF2B5EF4-FFF2-40B4-BE49-F238E27FC236}">
                      <a16:creationId xmlns:a16="http://schemas.microsoft.com/office/drawing/2014/main" id="{7499E9F0-897C-4513-9990-11395C55C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8263293" y="2899614"/>
                  <a:ext cx="1613370" cy="337797"/>
                </a:xfrm>
                <a:prstGeom prst="round2SameRect">
                  <a:avLst>
                    <a:gd name="adj1" fmla="val 22906"/>
                    <a:gd name="adj2" fmla="val 0"/>
                  </a:avLst>
                </a:prstGeom>
                <a:solidFill>
                  <a:srgbClr val="0070C0"/>
                </a:solidFill>
                <a:ln w="12700" algn="ctr">
                  <a:noFill/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1872993">
                    <a:lnSpc>
                      <a:spcPct val="95000"/>
                    </a:lnSpc>
                    <a:spcAft>
                      <a:spcPts val="1869"/>
                    </a:spcAft>
                    <a:defRPr/>
                  </a:pPr>
                  <a:r>
                    <a:rPr lang="en-US" sz="2799" b="1" noProof="1">
                      <a:solidFill>
                        <a:schemeClr val="bg1"/>
                      </a:solidFill>
                      <a:cs typeface="Arial" charset="0"/>
                    </a:rPr>
                    <a:t>Administración</a:t>
                  </a:r>
                </a:p>
              </p:txBody>
            </p:sp>
          </p:grpSp>
        </p:grpSp>
        <p:grpSp>
          <p:nvGrpSpPr>
            <p:cNvPr id="9" name="Group 336">
              <a:extLst>
                <a:ext uri="{FF2B5EF4-FFF2-40B4-BE49-F238E27FC236}">
                  <a16:creationId xmlns:a16="http://schemas.microsoft.com/office/drawing/2014/main" id="{A1A27412-480F-4B91-8082-99D110FBC6C4}"/>
                </a:ext>
              </a:extLst>
            </p:cNvPr>
            <p:cNvGrpSpPr/>
            <p:nvPr/>
          </p:nvGrpSpPr>
          <p:grpSpPr>
            <a:xfrm flipH="1">
              <a:off x="9675629" y="5830119"/>
              <a:ext cx="1911950" cy="2468134"/>
              <a:chOff x="615809" y="6492383"/>
              <a:chExt cx="1911950" cy="2468134"/>
            </a:xfrm>
          </p:grpSpPr>
          <p:grpSp>
            <p:nvGrpSpPr>
              <p:cNvPr id="12" name="Group 339">
                <a:extLst>
                  <a:ext uri="{FF2B5EF4-FFF2-40B4-BE49-F238E27FC236}">
                    <a16:creationId xmlns:a16="http://schemas.microsoft.com/office/drawing/2014/main" id="{C6AF6A24-4066-4D2D-8D90-8A03ABAB2E0A}"/>
                  </a:ext>
                </a:extLst>
              </p:cNvPr>
              <p:cNvGrpSpPr/>
              <p:nvPr/>
            </p:nvGrpSpPr>
            <p:grpSpPr>
              <a:xfrm>
                <a:off x="615809" y="6492383"/>
                <a:ext cx="1911949" cy="988649"/>
                <a:chOff x="617396" y="5311768"/>
                <a:chExt cx="1613559" cy="744309"/>
              </a:xfrm>
            </p:grpSpPr>
            <p:sp>
              <p:nvSpPr>
                <p:cNvPr id="16" name="TextBox 343">
                  <a:extLst>
                    <a:ext uri="{FF2B5EF4-FFF2-40B4-BE49-F238E27FC236}">
                      <a16:creationId xmlns:a16="http://schemas.microsoft.com/office/drawing/2014/main" id="{E2A4D8E9-F9D7-4E7B-BE36-3FD9E3C0F935}"/>
                    </a:ext>
                  </a:extLst>
                </p:cNvPr>
                <p:cNvSpPr txBox="1"/>
                <p:nvPr/>
              </p:nvSpPr>
              <p:spPr>
                <a:xfrm>
                  <a:off x="617396" y="5649546"/>
                  <a:ext cx="1613559" cy="40653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143944" tIns="71972" rIns="143944" bIns="143944" rtlCol="0">
                  <a:spAutoFit/>
                </a:bodyPr>
                <a:lstStyle/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799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David Narvaez</a:t>
                  </a: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799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Jimmy Perez</a:t>
                  </a:r>
                </a:p>
              </p:txBody>
            </p:sp>
            <p:sp>
              <p:nvSpPr>
                <p:cNvPr id="17" name="_content">
                  <a:extLst>
                    <a:ext uri="{FF2B5EF4-FFF2-40B4-BE49-F238E27FC236}">
                      <a16:creationId xmlns:a16="http://schemas.microsoft.com/office/drawing/2014/main" id="{C7713478-31A0-4669-B685-84824C699F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617396" y="5311768"/>
                  <a:ext cx="1613369" cy="337797"/>
                </a:xfrm>
                <a:prstGeom prst="round2SameRect">
                  <a:avLst>
                    <a:gd name="adj1" fmla="val 22906"/>
                    <a:gd name="adj2" fmla="val 0"/>
                  </a:avLst>
                </a:prstGeom>
                <a:solidFill>
                  <a:srgbClr val="002060"/>
                </a:solidFill>
                <a:ln w="12700" algn="ctr">
                  <a:noFill/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1872993">
                    <a:lnSpc>
                      <a:spcPct val="95000"/>
                    </a:lnSpc>
                    <a:spcAft>
                      <a:spcPts val="1869"/>
                    </a:spcAft>
                    <a:defRPr/>
                  </a:pPr>
                  <a:r>
                    <a:rPr lang="en-US" sz="2799" b="1" noProof="1">
                      <a:solidFill>
                        <a:schemeClr val="bg1"/>
                      </a:solidFill>
                      <a:cs typeface="Arial" charset="0"/>
                    </a:rPr>
                    <a:t>Asociados</a:t>
                  </a:r>
                </a:p>
              </p:txBody>
            </p:sp>
          </p:grpSp>
          <p:grpSp>
            <p:nvGrpSpPr>
              <p:cNvPr id="13" name="Group 340">
                <a:extLst>
                  <a:ext uri="{FF2B5EF4-FFF2-40B4-BE49-F238E27FC236}">
                    <a16:creationId xmlns:a16="http://schemas.microsoft.com/office/drawing/2014/main" id="{EA4D4C0E-5780-4E9B-ABA4-74C8FF7C007C}"/>
                  </a:ext>
                </a:extLst>
              </p:cNvPr>
              <p:cNvGrpSpPr/>
              <p:nvPr/>
            </p:nvGrpSpPr>
            <p:grpSpPr>
              <a:xfrm>
                <a:off x="615809" y="7776774"/>
                <a:ext cx="1911950" cy="1183743"/>
                <a:chOff x="617396" y="5313373"/>
                <a:chExt cx="1613559" cy="891190"/>
              </a:xfrm>
            </p:grpSpPr>
            <p:sp>
              <p:nvSpPr>
                <p:cNvPr id="14" name="TextBox 341">
                  <a:extLst>
                    <a:ext uri="{FF2B5EF4-FFF2-40B4-BE49-F238E27FC236}">
                      <a16:creationId xmlns:a16="http://schemas.microsoft.com/office/drawing/2014/main" id="{2F1A3D76-5484-4007-9F18-396A1CFC6A31}"/>
                    </a:ext>
                  </a:extLst>
                </p:cNvPr>
                <p:cNvSpPr txBox="1"/>
                <p:nvPr/>
              </p:nvSpPr>
              <p:spPr>
                <a:xfrm>
                  <a:off x="617396" y="5635819"/>
                  <a:ext cx="1613559" cy="56874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143944" tIns="71972" rIns="143944" bIns="143944" rtlCol="0">
                  <a:spAutoFit/>
                </a:bodyPr>
                <a:lstStyle/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799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ZAT Consulting</a:t>
                  </a: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799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Orion</a:t>
                  </a:r>
                </a:p>
                <a:p>
                  <a:pPr marL="571271" indent="-571271">
                    <a:buClr>
                      <a:srgbClr val="09244C"/>
                    </a:buClr>
                    <a:buFont typeface="Wingdings 3" panose="05040102010807070707" pitchFamily="18" charset="2"/>
                    <a:buChar char="}"/>
                  </a:pPr>
                  <a:r>
                    <a:rPr lang="en-US" sz="2799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Huawei</a:t>
                  </a:r>
                </a:p>
              </p:txBody>
            </p:sp>
            <p:sp>
              <p:nvSpPr>
                <p:cNvPr id="15" name="_content">
                  <a:extLst>
                    <a:ext uri="{FF2B5EF4-FFF2-40B4-BE49-F238E27FC236}">
                      <a16:creationId xmlns:a16="http://schemas.microsoft.com/office/drawing/2014/main" id="{E5A652D5-8843-4BAF-9F0D-110DF29894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617586" y="5313373"/>
                  <a:ext cx="1613369" cy="337797"/>
                </a:xfrm>
                <a:prstGeom prst="round2SameRect">
                  <a:avLst>
                    <a:gd name="adj1" fmla="val 22906"/>
                    <a:gd name="adj2" fmla="val 0"/>
                  </a:avLst>
                </a:prstGeom>
                <a:gradFill>
                  <a:gsLst>
                    <a:gs pos="0">
                      <a:schemeClr val="accent3">
                        <a:lumMod val="90000"/>
                        <a:lumOff val="10000"/>
                      </a:schemeClr>
                    </a:gs>
                    <a:gs pos="100000">
                      <a:schemeClr val="accent3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n w="12700" algn="ctr">
                  <a:noFill/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pPr algn="ctr" defTabSz="1872993">
                    <a:lnSpc>
                      <a:spcPct val="95000"/>
                    </a:lnSpc>
                    <a:spcAft>
                      <a:spcPts val="1869"/>
                    </a:spcAft>
                    <a:defRPr/>
                  </a:pPr>
                  <a:r>
                    <a:rPr lang="en-US" sz="2799" b="1" noProof="1">
                      <a:solidFill>
                        <a:schemeClr val="bg1"/>
                      </a:solidFill>
                      <a:cs typeface="Arial" charset="0"/>
                    </a:rPr>
                    <a:t>Alianzas</a:t>
                  </a:r>
                </a:p>
              </p:txBody>
            </p:sp>
          </p:grpSp>
        </p:grpSp>
      </p:grpSp>
      <p:sp>
        <p:nvSpPr>
          <p:cNvPr id="26" name="Title 5">
            <a:extLst>
              <a:ext uri="{FF2B5EF4-FFF2-40B4-BE49-F238E27FC236}">
                <a16:creationId xmlns:a16="http://schemas.microsoft.com/office/drawing/2014/main" id="{12B29175-5199-45B1-9F3B-A0516D114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724" y="822111"/>
            <a:ext cx="23031972" cy="996965"/>
          </a:xfrm>
        </p:spPr>
        <p:txBody>
          <a:bodyPr>
            <a:normAutofit/>
          </a:bodyPr>
          <a:lstStyle/>
          <a:p>
            <a:r>
              <a:rPr lang="en-US" dirty="0" err="1">
                <a:solidFill>
                  <a:srgbClr val="0070C0"/>
                </a:solidFill>
              </a:rPr>
              <a:t>Organigrama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2276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4268"/>
          <a:ext cx="3173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4268"/>
                        <a:ext cx="3173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Equipo</a:t>
            </a:r>
            <a:r>
              <a:rPr lang="en-US" dirty="0"/>
              <a:t> Analytics Juni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20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19" name="Group 3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861700"/>
              </p:ext>
            </p:extLst>
          </p:nvPr>
        </p:nvGraphicFramePr>
        <p:xfrm>
          <a:off x="669665" y="2689251"/>
          <a:ext cx="23031974" cy="9773220"/>
        </p:xfrm>
        <a:graphic>
          <a:graphicData uri="http://schemas.openxmlformats.org/drawingml/2006/table">
            <a:tbl>
              <a:tblPr/>
              <a:tblGrid>
                <a:gridCol w="4356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38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51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8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17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5592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3200" b="1" cap="all" baseline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Title</a:t>
                      </a: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3200" b="1" kern="1200" cap="all" baseline="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tatus</a:t>
                      </a: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tividad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sponsabl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ue date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9325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2400" kern="1200" dirty="0">
                          <a:ea typeface="+mn-ea"/>
                          <a:cs typeface="+mn-cs"/>
                        </a:rPr>
                        <a:t>UPC </a:t>
                      </a:r>
                      <a:r>
                        <a:rPr lang="en-US" sz="2400" kern="1200" dirty="0" err="1"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sz="2400" kern="1200" dirty="0"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dirty="0" err="1">
                          <a:ea typeface="+mn-ea"/>
                          <a:cs typeface="+mn-cs"/>
                        </a:rPr>
                        <a:t>Predictivos</a:t>
                      </a:r>
                      <a:r>
                        <a:rPr lang="en-US" sz="2400" kern="1200" dirty="0">
                          <a:ea typeface="+mn-ea"/>
                          <a:cs typeface="+mn-cs"/>
                        </a:rPr>
                        <a:t> 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integrados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con Power BI. </a:t>
                      </a: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Habilitar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con data de UPC, EDUCA, </a:t>
                      </a: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para Colegios</a:t>
                      </a:r>
                      <a:endParaRPr lang="en-US" sz="2400" b="0" i="0" u="none" strike="noStrike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Calibri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endParaRPr kumimoji="0" lang="en-US" sz="24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Arial"/>
                        </a:rPr>
                        <a:t>Steven Silvestre</a:t>
                      </a:r>
                      <a:endParaRPr kumimoji="0" lang="en-US" sz="24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Steven Silvestre</a:t>
                      </a:r>
                      <a:endParaRPr kumimoji="0" lang="en-US">
                        <a:highlight>
                          <a:srgbClr val="FFFF00"/>
                        </a:highlight>
                      </a:endParaRP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Steven Silvestre</a:t>
                      </a:r>
                      <a:endParaRPr lang="en-US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endParaRPr lang="en-US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 panose="020B0604020202020204" pitchFamily="34" charset="0"/>
                        </a:rPr>
                        <a:t>2020-07-30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9325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2400" kern="1200" dirty="0">
                          <a:ea typeface="+mn-ea"/>
                          <a:cs typeface="+mn-cs"/>
                        </a:rPr>
                        <a:t>SIPAN </a:t>
                      </a:r>
                      <a:r>
                        <a:rPr lang="en-US" sz="2400" kern="1200" dirty="0" err="1">
                          <a:ea typeface="+mn-ea"/>
                          <a:cs typeface="+mn-cs"/>
                        </a:rPr>
                        <a:t>Modelo</a:t>
                      </a:r>
                      <a:r>
                        <a:rPr lang="en-US" sz="2400" kern="1200" dirty="0"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dirty="0" err="1">
                          <a:ea typeface="+mn-ea"/>
                          <a:cs typeface="+mn-cs"/>
                        </a:rPr>
                        <a:t>Predictivo</a:t>
                      </a:r>
                      <a:r>
                        <a:rPr lang="en-US" sz="2400" kern="1200" dirty="0">
                          <a:ea typeface="+mn-ea"/>
                          <a:cs typeface="+mn-cs"/>
                        </a:rPr>
                        <a:t> 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integrados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con Power BI. </a:t>
                      </a: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Habilitar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con data de ASEI, </a:t>
                      </a: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Capeco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  </a:t>
                      </a: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sz="24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 para </a:t>
                      </a:r>
                      <a:r>
                        <a:rPr lang="en-US" sz="2400" kern="1200" noProof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Constructoras</a:t>
                      </a:r>
                      <a:endParaRPr lang="en-US" sz="2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'Wingdings 3',Sans-Serif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Steven Silvestre</a:t>
                      </a:r>
                      <a:endParaRPr lang="en-US" sz="2400" b="0" i="0" u="none" strike="noStrike" kern="1200" cap="none" normalizeH="0" baseline="0" noProof="0">
                        <a:ln>
                          <a:noFill/>
                        </a:ln>
                        <a:effectLst/>
                        <a:highlight>
                          <a:srgbClr val="FFFF00"/>
                        </a:highlight>
                      </a:endParaRP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'Wingdings 3',Sans-Serif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Steven Silvestre</a:t>
                      </a:r>
                      <a:endParaRPr lang="en-US" sz="2400" b="0" i="0" u="none" strike="noStrike" kern="1200" cap="none" normalizeH="0" baseline="0" noProof="0">
                        <a:ln>
                          <a:noFill/>
                        </a:ln>
                        <a:effectLst/>
                        <a:highlight>
                          <a:srgbClr val="FFFF00"/>
                        </a:highlight>
                      </a:endParaRP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'Wingdings 3',Sans-Serif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Calibri"/>
                        </a:rPr>
                        <a:t>Steven Silvestre</a:t>
                      </a:r>
                      <a:endParaRPr lang="en-US">
                        <a:highlight>
                          <a:srgbClr val="FFFF00"/>
                        </a:highlight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2020-08-30</a:t>
                      </a:r>
                      <a:endParaRPr kumimoji="0" lang="en-GB" altLang="de-DE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79325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UCV </a:t>
                      </a:r>
                      <a:r>
                        <a:rPr lang="en-GB" altLang="de-DE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alumno</a:t>
                      </a:r>
                      <a:r>
                        <a:rPr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 360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altLang="de-DE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Arquitectura</a:t>
                      </a:r>
                      <a:endParaRPr lang="en-US" sz="2400" b="0" i="0" u="none" strike="noStrike" kern="1200" noProof="0" err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Calibri"/>
                      </a:endParaRP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altLang="de-DE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Integration Serialized Models (Big Data – Stand Alone Infrastructures)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GB" sz="2400" b="0" i="0" u="none" strike="noStrike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Calibri"/>
                        </a:rPr>
                        <a:t>Integration with Model's EndPoints 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Calibri"/>
                        </a:rPr>
                        <a:t>Steven Silvestre</a:t>
                      </a:r>
                      <a:endParaRPr lang="en-US" altLang="de-DE" sz="2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2020-08-30</a:t>
                      </a:r>
                      <a:endParaRPr kumimoji="0" lang="en-GB" altLang="de-DE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79325">
                <a:tc>
                  <a:txBody>
                    <a:bodyPr/>
                    <a:lstStyle/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USIL </a:t>
                      </a:r>
                      <a:r>
                        <a:rPr lang="en-GB" altLang="de-DE" sz="24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Assesment+Finanzas</a:t>
                      </a:r>
                      <a:r>
                        <a:rPr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 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altLang="de-DE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+mn-lt"/>
                          <a:ea typeface="+mn-ea"/>
                          <a:cs typeface="+mn-cs"/>
                        </a:rPr>
                        <a:t>Propuesta de Documentacion</a:t>
                      </a:r>
                      <a:endParaRPr lang="en-US" altLang="de-DE" sz="2400" kern="1200" noProof="0" err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highlight>
                            <a:srgbClr val="FFFF00"/>
                          </a:highlight>
                          <a:latin typeface="Calibri"/>
                        </a:rPr>
                        <a:t>Steven Silvestre</a:t>
                      </a:r>
                      <a:endParaRPr lang="en-US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2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cs typeface="Arial"/>
                        </a:rPr>
                        <a:t>2020-08-30</a:t>
                      </a:r>
                      <a:endParaRPr kumimoji="0" lang="en-GB" altLang="de-DE" sz="2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37A11F5-96F6-4B11-9F0E-83E55A05E462}"/>
              </a:ext>
            </a:extLst>
          </p:cNvPr>
          <p:cNvSpPr/>
          <p:nvPr/>
        </p:nvSpPr>
        <p:spPr>
          <a:xfrm>
            <a:off x="5808326" y="3523563"/>
            <a:ext cx="869610" cy="1946503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162" hangingPunct="1"/>
            <a:endParaRPr lang="en-US" sz="3599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9D78B6C-0588-4CAC-BD74-ACF88AB55C34}"/>
              </a:ext>
            </a:extLst>
          </p:cNvPr>
          <p:cNvSpPr/>
          <p:nvPr/>
        </p:nvSpPr>
        <p:spPr>
          <a:xfrm>
            <a:off x="5808326" y="5793436"/>
            <a:ext cx="869610" cy="1946503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162" hangingPunct="1"/>
            <a:endParaRPr lang="en-US" sz="3599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3016628-FE16-4A23-8627-6DD856A27553}"/>
              </a:ext>
            </a:extLst>
          </p:cNvPr>
          <p:cNvSpPr/>
          <p:nvPr/>
        </p:nvSpPr>
        <p:spPr>
          <a:xfrm>
            <a:off x="5808326" y="8063309"/>
            <a:ext cx="869610" cy="1946503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162" hangingPunct="1"/>
            <a:endParaRPr lang="en-US" sz="3599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3A774D0-5144-4970-880C-1BEB08DFF808}"/>
              </a:ext>
            </a:extLst>
          </p:cNvPr>
          <p:cNvSpPr/>
          <p:nvPr/>
        </p:nvSpPr>
        <p:spPr>
          <a:xfrm>
            <a:off x="5808326" y="10333182"/>
            <a:ext cx="869610" cy="1946503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162" hangingPunct="1"/>
            <a:endParaRPr lang="en-US" sz="3599" kern="120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6036038" y="8301108"/>
            <a:ext cx="414182" cy="1470905"/>
            <a:chOff x="3005571" y="1778390"/>
            <a:chExt cx="236276" cy="839101"/>
          </a:xfrm>
        </p:grpSpPr>
        <p:sp>
          <p:nvSpPr>
            <p:cNvPr id="30" name="Ellipse 96"/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Ellipse 97"/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Ellipse 98"/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6036038" y="10570981"/>
            <a:ext cx="414182" cy="1470905"/>
            <a:chOff x="3005571" y="1778390"/>
            <a:chExt cx="236276" cy="839101"/>
          </a:xfrm>
        </p:grpSpPr>
        <p:sp>
          <p:nvSpPr>
            <p:cNvPr id="35" name="Ellipse 96"/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Ellipse 97"/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Ellipse 98"/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036038" y="6031235"/>
            <a:ext cx="414182" cy="1470905"/>
            <a:chOff x="3005571" y="1778390"/>
            <a:chExt cx="236276" cy="839101"/>
          </a:xfrm>
        </p:grpSpPr>
        <p:sp>
          <p:nvSpPr>
            <p:cNvPr id="26" name="Ellipse 96"/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Ellipse 97"/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rgbClr val="FFC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Ellipse 98"/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9" name="Group 24">
            <a:extLst>
              <a:ext uri="{FF2B5EF4-FFF2-40B4-BE49-F238E27FC236}">
                <a16:creationId xmlns:a16="http://schemas.microsoft.com/office/drawing/2014/main" id="{0BC7B8EA-B3E7-48B8-9DE5-825A4FBA55D9}"/>
              </a:ext>
            </a:extLst>
          </p:cNvPr>
          <p:cNvGrpSpPr/>
          <p:nvPr/>
        </p:nvGrpSpPr>
        <p:grpSpPr>
          <a:xfrm>
            <a:off x="6036038" y="3756410"/>
            <a:ext cx="414182" cy="1470905"/>
            <a:chOff x="3005571" y="1778390"/>
            <a:chExt cx="236276" cy="839101"/>
          </a:xfrm>
        </p:grpSpPr>
        <p:sp>
          <p:nvSpPr>
            <p:cNvPr id="40" name="Ellipse 96">
              <a:extLst>
                <a:ext uri="{FF2B5EF4-FFF2-40B4-BE49-F238E27FC236}">
                  <a16:creationId xmlns:a16="http://schemas.microsoft.com/office/drawing/2014/main" id="{A4524D0F-6A14-49D3-8713-37FE7183A613}"/>
                </a:ext>
              </a:extLst>
            </p:cNvPr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" name="Ellipse 97">
              <a:extLst>
                <a:ext uri="{FF2B5EF4-FFF2-40B4-BE49-F238E27FC236}">
                  <a16:creationId xmlns:a16="http://schemas.microsoft.com/office/drawing/2014/main" id="{360E3874-38AC-4F3A-9196-3B9EB92BD29E}"/>
                </a:ext>
              </a:extLst>
            </p:cNvPr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rgbClr val="FFC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Ellipse 98">
              <a:extLst>
                <a:ext uri="{FF2B5EF4-FFF2-40B4-BE49-F238E27FC236}">
                  <a16:creationId xmlns:a16="http://schemas.microsoft.com/office/drawing/2014/main" id="{12E46BD6-11F1-4A92-9E5E-C00FC42BFA25}"/>
                </a:ext>
              </a:extLst>
            </p:cNvPr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44230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4268"/>
          <a:ext cx="3173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4268"/>
                        <a:ext cx="3173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Equipo</a:t>
            </a:r>
            <a:r>
              <a:rPr lang="en-US" dirty="0"/>
              <a:t> </a:t>
            </a:r>
            <a:r>
              <a:rPr lang="en-US" dirty="0" err="1"/>
              <a:t>Educa</a:t>
            </a:r>
            <a:r>
              <a:rPr lang="en-US" dirty="0"/>
              <a:t> Juni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21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19" name="Group 337"/>
          <p:cNvGraphicFramePr>
            <a:graphicFrameLocks noGrp="1"/>
          </p:cNvGraphicFramePr>
          <p:nvPr/>
        </p:nvGraphicFramePr>
        <p:xfrm>
          <a:off x="669665" y="2689251"/>
          <a:ext cx="23031974" cy="10948218"/>
        </p:xfrm>
        <a:graphic>
          <a:graphicData uri="http://schemas.openxmlformats.org/drawingml/2006/table">
            <a:tbl>
              <a:tblPr/>
              <a:tblGrid>
                <a:gridCol w="4356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38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51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518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17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5592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3200" b="1" cap="all" baseline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Title</a:t>
                      </a: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3200" b="1" kern="1200" cap="all" baseline="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/>
                        </a:rPr>
                        <a:t>Status</a:t>
                      </a: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ctividad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sponsables</a:t>
                      </a:r>
                      <a:endParaRPr lang="en-GB" altLang="de-DE" sz="3200" b="1" kern="1200" cap="all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3200" b="1" kern="1200" cap="all" baseline="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/>
                        </a:rPr>
                        <a:t>Due date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accent3">
                            <a:lumMod val="90000"/>
                            <a:lumOff val="10000"/>
                          </a:schemeClr>
                        </a:gs>
                        <a:gs pos="100000">
                          <a:schemeClr val="accent3">
                            <a:lumMod val="75000"/>
                            <a:lumOff val="2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93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400" kern="1200" err="1"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sz="2400" kern="1200"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err="1">
                          <a:ea typeface="+mn-ea"/>
                          <a:cs typeface="+mn-cs"/>
                        </a:rPr>
                        <a:t>Deserción</a:t>
                      </a:r>
                      <a:r>
                        <a:rPr lang="en-US" sz="2400" kern="1200">
                          <a:ea typeface="+mn-ea"/>
                          <a:cs typeface="+mn-cs"/>
                        </a:rPr>
                        <a:t> y </a:t>
                      </a:r>
                      <a:r>
                        <a:rPr lang="en-US" sz="2400" kern="1200" err="1">
                          <a:ea typeface="+mn-ea"/>
                          <a:cs typeface="+mn-cs"/>
                        </a:rPr>
                        <a:t>clusterización</a:t>
                      </a:r>
                      <a:r>
                        <a:rPr lang="en-US" sz="2400" kern="1200">
                          <a:ea typeface="+mn-ea"/>
                          <a:cs typeface="+mn-cs"/>
                        </a:rPr>
                        <a:t> para </a:t>
                      </a:r>
                      <a:r>
                        <a:rPr lang="en-US" sz="2400" kern="1200" err="1">
                          <a:ea typeface="+mn-ea"/>
                          <a:cs typeface="+mn-cs"/>
                        </a:rPr>
                        <a:t>Educación</a:t>
                      </a:r>
                      <a:endParaRPr kumimoji="0" lang="en-GB" altLang="de-DE" sz="2400" b="0" i="0" u="none" strike="noStrike" cap="none" normalizeH="0" baseline="0" noProof="0">
                        <a:ln>
                          <a:noFill/>
                        </a:ln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sercion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y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lusterizacion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tegrados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con Power BI.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abilitar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con data de UPC, EDUCA,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endParaRPr lang="en-US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para Colegios</a:t>
                      </a:r>
                      <a:endParaRPr lang="en-GB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endParaRPr kumimoji="0" lang="en-US" sz="24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Ruben Rojas, Leandro Coronel y Pamela Rivas</a:t>
                      </a:r>
                      <a:endParaRPr kumimoji="0" lang="en-US" sz="24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Ruben Rojas, Leandro Coronel</a:t>
                      </a:r>
                      <a:endParaRPr kumimoji="0" lang="en-US" sz="24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Ruben Rojas, Leandro Coronel</a:t>
                      </a:r>
                      <a:endParaRPr lang="en-US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endParaRPr lang="en-US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2020-07-30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93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Modelos construcción </a:t>
                      </a:r>
                      <a:r>
                        <a:rPr kumimoji="0" lang="es-ES" altLang="de-DE" sz="24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Capeco</a:t>
                      </a:r>
                      <a:r>
                        <a:rPr kumimoji="0" lang="es-ES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, ASEI, etc.</a:t>
                      </a: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tegrados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con Power BI.</a:t>
                      </a: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abilitar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con data de ASEI,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peco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endParaRPr lang="en-US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sz="2400" kern="1200" noProof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odelos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para Constructoras</a:t>
                      </a:r>
                      <a:endParaRPr lang="en-GB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Ruben Rojas, Leandro Coronel y Pamela Rivas</a:t>
                      </a:r>
                      <a:endParaRPr kumimoji="0" lang="en-US" sz="24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Ruben Rojas, Leandro Coronel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Ruben Rojas, Leandro Coronel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endParaRPr lang="en-US" sz="24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2020-07-30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793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24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AutoML</a:t>
                      </a:r>
                      <a:r>
                        <a:rPr kumimoji="0"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 y Quick Insights </a:t>
                      </a:r>
                      <a:r>
                        <a:rPr kumimoji="0" lang="en-GB" altLang="de-DE" sz="24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integrado</a:t>
                      </a:r>
                      <a:r>
                        <a:rPr kumimoji="0"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 con Big Data</a:t>
                      </a: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altLang="de-DE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DF.</a:t>
                      </a:r>
                      <a:endParaRPr lang="en-GB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914447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Clr>
                          <a:schemeClr val="accent2"/>
                        </a:buClr>
                        <a:buSzPct val="110000"/>
                        <a:buFont typeface="Wingdings 3" panose="05040102010807070707" pitchFamily="18" charset="2"/>
                        <a:buChar char="}"/>
                        <a:tabLst/>
                      </a:pPr>
                      <a:r>
                        <a:rPr lang="en-US" altLang="de-DE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DF.</a:t>
                      </a:r>
                      <a:endParaRPr lang="en-US" sz="2400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2020-07-30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793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de-DE" sz="24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Metodologia</a:t>
                      </a:r>
                      <a:r>
                        <a:rPr kumimoji="0"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 y </a:t>
                      </a:r>
                      <a:r>
                        <a:rPr kumimoji="0" lang="en-GB" altLang="de-DE" sz="24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documentación</a:t>
                      </a:r>
                      <a:endParaRPr kumimoji="0" lang="en-GB" altLang="de-DE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143944" marR="143944" marT="71972" marB="71972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4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43944" marR="143944" marT="71972" marB="7197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altLang="de-DE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cumento de Requerimientos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altLang="de-DE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cumento de 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álisis</a:t>
                      </a:r>
                      <a:r>
                        <a:rPr lang="en-US" sz="2400" b="0" i="0" u="none" strike="noStrike" kern="1200" noProof="0"/>
                        <a:t> </a:t>
                      </a:r>
                      <a:r>
                        <a:rPr lang="en-US" altLang="de-DE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uncional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altLang="de-DE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cumento de </a:t>
                      </a:r>
                      <a:r>
                        <a:rPr lang="en-US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álisis Técnico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altLang="de-DE" sz="2400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anual de usuario de Reportes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rtl="0" eaLnBrk="1" fontAlgn="base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/>
                        </a:rPr>
                        <a:t>Ruben Rojas, Leandro  Coronel y Pamela Rivas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/>
                        </a:rPr>
                        <a:t>Ruben Rojas, Leandro Coronel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/>
                        </a:rPr>
                        <a:t>Ruben Rojas, Leandro Coronel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r>
                        <a:rPr lang="en-US" sz="2400" b="0" i="0" u="none" strike="noStrike" kern="1200" noProof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/>
                        </a:rPr>
                        <a:t>Ruben Rojas, Leandro  Coronel y Pamela Rivas</a:t>
                      </a:r>
                    </a:p>
                    <a:p>
                      <a:pPr marL="285750" marR="0" lvl="1" indent="-285750" algn="l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300"/>
                        </a:spcAft>
                        <a:buFont typeface="Wingdings 3" panose="05040102010807070707" pitchFamily="18" charset="2"/>
                        <a:buChar char="}"/>
                      </a:pPr>
                      <a:endParaRPr lang="en-US" sz="2400" b="0" i="0" u="none" strike="noStrike" kern="1200" noProof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/>
                      </a:endParaRP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24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/>
                        </a:rPr>
                        <a:t>2020-07-30</a:t>
                      </a:r>
                    </a:p>
                  </a:txBody>
                  <a:tcPr marL="143944" marR="143944" marT="71972" marB="71972" anchor="ctr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E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37A11F5-96F6-4B11-9F0E-83E55A05E462}"/>
              </a:ext>
            </a:extLst>
          </p:cNvPr>
          <p:cNvSpPr/>
          <p:nvPr/>
        </p:nvSpPr>
        <p:spPr>
          <a:xfrm>
            <a:off x="5808326" y="3523563"/>
            <a:ext cx="869610" cy="1946503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162" hangingPunct="1"/>
            <a:endParaRPr lang="en-US" sz="3599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9D78B6C-0588-4CAC-BD74-ACF88AB55C34}"/>
              </a:ext>
            </a:extLst>
          </p:cNvPr>
          <p:cNvSpPr/>
          <p:nvPr/>
        </p:nvSpPr>
        <p:spPr>
          <a:xfrm>
            <a:off x="5808326" y="5793436"/>
            <a:ext cx="869610" cy="1946503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162" hangingPunct="1"/>
            <a:endParaRPr lang="en-US" sz="3599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3016628-FE16-4A23-8627-6DD856A27553}"/>
              </a:ext>
            </a:extLst>
          </p:cNvPr>
          <p:cNvSpPr/>
          <p:nvPr/>
        </p:nvSpPr>
        <p:spPr>
          <a:xfrm>
            <a:off x="5808326" y="8063309"/>
            <a:ext cx="869610" cy="1946503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162" hangingPunct="1"/>
            <a:endParaRPr lang="en-US" sz="3599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3A774D0-5144-4970-880C-1BEB08DFF808}"/>
              </a:ext>
            </a:extLst>
          </p:cNvPr>
          <p:cNvSpPr/>
          <p:nvPr/>
        </p:nvSpPr>
        <p:spPr>
          <a:xfrm>
            <a:off x="5808326" y="10333182"/>
            <a:ext cx="869610" cy="1946503"/>
          </a:xfrm>
          <a:prstGeom prst="roundRect">
            <a:avLst>
              <a:gd name="adj" fmla="val 18127"/>
            </a:avLst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162" hangingPunct="1"/>
            <a:endParaRPr lang="en-US" sz="3599" kern="120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6036038" y="8301108"/>
            <a:ext cx="414182" cy="1470905"/>
            <a:chOff x="3005571" y="1778390"/>
            <a:chExt cx="236276" cy="839101"/>
          </a:xfrm>
        </p:grpSpPr>
        <p:sp>
          <p:nvSpPr>
            <p:cNvPr id="30" name="Ellipse 96"/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Ellipse 97"/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Ellipse 98"/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6036038" y="10570981"/>
            <a:ext cx="414182" cy="1470905"/>
            <a:chOff x="3005571" y="1778390"/>
            <a:chExt cx="236276" cy="839101"/>
          </a:xfrm>
        </p:grpSpPr>
        <p:sp>
          <p:nvSpPr>
            <p:cNvPr id="35" name="Ellipse 96"/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Ellipse 97"/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Ellipse 98"/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036038" y="6031235"/>
            <a:ext cx="414182" cy="1470905"/>
            <a:chOff x="3005571" y="1778390"/>
            <a:chExt cx="236276" cy="839101"/>
          </a:xfrm>
        </p:grpSpPr>
        <p:sp>
          <p:nvSpPr>
            <p:cNvPr id="26" name="Ellipse 96"/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Ellipse 97"/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rgbClr val="FFC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Ellipse 98"/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9" name="Group 24">
            <a:extLst>
              <a:ext uri="{FF2B5EF4-FFF2-40B4-BE49-F238E27FC236}">
                <a16:creationId xmlns:a16="http://schemas.microsoft.com/office/drawing/2014/main" id="{0BC7B8EA-B3E7-48B8-9DE5-825A4FBA55D9}"/>
              </a:ext>
            </a:extLst>
          </p:cNvPr>
          <p:cNvGrpSpPr/>
          <p:nvPr/>
        </p:nvGrpSpPr>
        <p:grpSpPr>
          <a:xfrm>
            <a:off x="6036038" y="3756410"/>
            <a:ext cx="414182" cy="1470905"/>
            <a:chOff x="3005571" y="1778390"/>
            <a:chExt cx="236276" cy="839101"/>
          </a:xfrm>
        </p:grpSpPr>
        <p:sp>
          <p:nvSpPr>
            <p:cNvPr id="40" name="Ellipse 96">
              <a:extLst>
                <a:ext uri="{FF2B5EF4-FFF2-40B4-BE49-F238E27FC236}">
                  <a16:creationId xmlns:a16="http://schemas.microsoft.com/office/drawing/2014/main" id="{A4524D0F-6A14-49D3-8713-37FE7183A613}"/>
                </a:ext>
              </a:extLst>
            </p:cNvPr>
            <p:cNvSpPr/>
            <p:nvPr/>
          </p:nvSpPr>
          <p:spPr bwMode="gray">
            <a:xfrm>
              <a:off x="3005571" y="1778390"/>
              <a:ext cx="236275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" name="Ellipse 97">
              <a:extLst>
                <a:ext uri="{FF2B5EF4-FFF2-40B4-BE49-F238E27FC236}">
                  <a16:creationId xmlns:a16="http://schemas.microsoft.com/office/drawing/2014/main" id="{360E3874-38AC-4F3A-9196-3B9EB92BD29E}"/>
                </a:ext>
              </a:extLst>
            </p:cNvPr>
            <p:cNvSpPr/>
            <p:nvPr/>
          </p:nvSpPr>
          <p:spPr bwMode="gray">
            <a:xfrm>
              <a:off x="3005571" y="2079804"/>
              <a:ext cx="236276" cy="236273"/>
            </a:xfrm>
            <a:prstGeom prst="ellipse">
              <a:avLst/>
            </a:prstGeom>
            <a:solidFill>
              <a:srgbClr val="FFC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Ellipse 98">
              <a:extLst>
                <a:ext uri="{FF2B5EF4-FFF2-40B4-BE49-F238E27FC236}">
                  <a16:creationId xmlns:a16="http://schemas.microsoft.com/office/drawing/2014/main" id="{12E46BD6-11F1-4A92-9E5E-C00FC42BFA25}"/>
                </a:ext>
              </a:extLst>
            </p:cNvPr>
            <p:cNvSpPr/>
            <p:nvPr/>
          </p:nvSpPr>
          <p:spPr bwMode="gray">
            <a:xfrm>
              <a:off x="3005571" y="2381218"/>
              <a:ext cx="236276" cy="236273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1828162" hangingPunct="1"/>
              <a:endParaRPr lang="en-US" sz="3599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59296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3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3698691"/>
              </p:ext>
            </p:extLst>
          </p:nvPr>
        </p:nvGraphicFramePr>
        <p:xfrm>
          <a:off x="1731694" y="1188329"/>
          <a:ext cx="21186476" cy="115068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6639E37C-1F96-4ED8-9C74-40C7E7B0E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n-US" sz="4800" dirty="0" err="1">
                <a:solidFill>
                  <a:srgbClr val="0070C0"/>
                </a:solidFill>
              </a:rPr>
              <a:t>Proyectos</a:t>
            </a:r>
            <a:endParaRPr lang="en-US" sz="4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7856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4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8382057"/>
              </p:ext>
            </p:extLst>
          </p:nvPr>
        </p:nvGraphicFramePr>
        <p:xfrm>
          <a:off x="1444156" y="2102476"/>
          <a:ext cx="21865747" cy="109924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E8EA6BCF-ABAF-454F-8A69-1771DB69A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s-PE" sz="4800" dirty="0" err="1">
                <a:solidFill>
                  <a:srgbClr val="0070C0"/>
                </a:solidFill>
              </a:rPr>
              <a:t>Comite</a:t>
            </a:r>
            <a:r>
              <a:rPr lang="en-US" sz="4800" dirty="0">
                <a:solidFill>
                  <a:srgbClr val="0070C0"/>
                </a:solidFill>
              </a:rPr>
              <a:t> </a:t>
            </a:r>
            <a:r>
              <a:rPr lang="en-US" sz="4800" dirty="0" err="1">
                <a:solidFill>
                  <a:srgbClr val="0070C0"/>
                </a:solidFill>
              </a:rPr>
              <a:t>Capeco</a:t>
            </a:r>
            <a:endParaRPr lang="en-US" sz="4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971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5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0667897"/>
              </p:ext>
            </p:extLst>
          </p:nvPr>
        </p:nvGraphicFramePr>
        <p:xfrm>
          <a:off x="2898475" y="2501660"/>
          <a:ext cx="19495699" cy="9799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12890FC3-2731-49C7-BA9B-0ED0C0E71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n-US" sz="4800" dirty="0" err="1">
                <a:solidFill>
                  <a:srgbClr val="0070C0"/>
                </a:solidFill>
              </a:rPr>
              <a:t>Actividades</a:t>
            </a:r>
            <a:r>
              <a:rPr lang="en-US" sz="4800" dirty="0">
                <a:solidFill>
                  <a:srgbClr val="0070C0"/>
                </a:solidFill>
              </a:rPr>
              <a:t> (Carmen  y Pamela)</a:t>
            </a:r>
          </a:p>
        </p:txBody>
      </p:sp>
    </p:spTree>
    <p:extLst>
      <p:ext uri="{BB962C8B-B14F-4D97-AF65-F5344CB8AC3E}">
        <p14:creationId xmlns:p14="http://schemas.microsoft.com/office/powerpoint/2010/main" val="2207515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6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253016"/>
              </p:ext>
            </p:extLst>
          </p:nvPr>
        </p:nvGraphicFramePr>
        <p:xfrm>
          <a:off x="1715812" y="2061036"/>
          <a:ext cx="20444942" cy="95939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13BEEC72-5154-447C-8C5D-4FDD474A6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s-PE" sz="4800" dirty="0">
                <a:solidFill>
                  <a:srgbClr val="0070C0"/>
                </a:solidFill>
              </a:rPr>
              <a:t>Comité</a:t>
            </a:r>
            <a:r>
              <a:rPr lang="en-US" sz="4800" dirty="0">
                <a:solidFill>
                  <a:srgbClr val="0070C0"/>
                </a:solidFill>
              </a:rPr>
              <a:t> </a:t>
            </a:r>
            <a:r>
              <a:rPr lang="en-US" sz="4800" dirty="0" err="1">
                <a:solidFill>
                  <a:srgbClr val="0070C0"/>
                </a:solidFill>
              </a:rPr>
              <a:t>Intelica</a:t>
            </a:r>
            <a:endParaRPr lang="en-US" sz="48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0434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7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3204041"/>
              </p:ext>
            </p:extLst>
          </p:nvPr>
        </p:nvGraphicFramePr>
        <p:xfrm>
          <a:off x="2898475" y="2501660"/>
          <a:ext cx="19495699" cy="9799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12890FC3-2731-49C7-BA9B-0ED0C0E71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s-PE" sz="4800" dirty="0">
                <a:solidFill>
                  <a:srgbClr val="0070C0"/>
                </a:solidFill>
              </a:rPr>
              <a:t>Actividades</a:t>
            </a:r>
            <a:r>
              <a:rPr lang="en-US" sz="4800" dirty="0">
                <a:solidFill>
                  <a:srgbClr val="0070C0"/>
                </a:solidFill>
              </a:rPr>
              <a:t> (David y Silvestre)</a:t>
            </a:r>
          </a:p>
        </p:txBody>
      </p:sp>
    </p:spTree>
    <p:extLst>
      <p:ext uri="{BB962C8B-B14F-4D97-AF65-F5344CB8AC3E}">
        <p14:creationId xmlns:p14="http://schemas.microsoft.com/office/powerpoint/2010/main" val="18396513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8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4157634"/>
              </p:ext>
            </p:extLst>
          </p:nvPr>
        </p:nvGraphicFramePr>
        <p:xfrm>
          <a:off x="2070340" y="1932316"/>
          <a:ext cx="20847830" cy="10368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456E2579-1E2A-4542-B14B-CC5853602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s-PE" sz="4800" dirty="0">
                <a:solidFill>
                  <a:srgbClr val="0070C0"/>
                </a:solidFill>
              </a:rPr>
              <a:t>Comité</a:t>
            </a:r>
            <a:r>
              <a:rPr lang="en-US" sz="4800" dirty="0">
                <a:solidFill>
                  <a:srgbClr val="0070C0"/>
                </a:solidFill>
              </a:rPr>
              <a:t> Mined</a:t>
            </a:r>
          </a:p>
        </p:txBody>
      </p:sp>
    </p:spTree>
    <p:extLst>
      <p:ext uri="{BB962C8B-B14F-4D97-AF65-F5344CB8AC3E}">
        <p14:creationId xmlns:p14="http://schemas.microsoft.com/office/powerpoint/2010/main" val="3156945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162" hangingPunct="1"/>
            <a:fld id="{B1EEA229-0096-49BD-81C1-58B039421B74}" type="slidenum">
              <a:rPr lang="en-US" kern="1200">
                <a:solidFill>
                  <a:srgbClr val="009CDA"/>
                </a:solidFill>
                <a:ea typeface="+mn-ea"/>
                <a:cs typeface="+mn-cs"/>
              </a:rPr>
              <a:pPr defTabSz="1828162" hangingPunct="1"/>
              <a:t>9</a:t>
            </a:fld>
            <a:endParaRPr lang="en-US" kern="1200">
              <a:solidFill>
                <a:srgbClr val="009CDA"/>
              </a:solidFill>
              <a:ea typeface="+mn-ea"/>
              <a:cs typeface="+mn-cs"/>
            </a:endParaRPr>
          </a:p>
        </p:txBody>
      </p:sp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D359484A-4BB1-49C3-A675-66CDD129E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5361501"/>
              </p:ext>
            </p:extLst>
          </p:nvPr>
        </p:nvGraphicFramePr>
        <p:xfrm>
          <a:off x="2898475" y="2501660"/>
          <a:ext cx="19495699" cy="9799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12890FC3-2731-49C7-BA9B-0ED0C0E71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665" y="1020772"/>
            <a:ext cx="23031972" cy="996965"/>
          </a:xfrm>
          <a:ln w="12700">
            <a:miter lim="400000"/>
          </a:ln>
        </p:spPr>
        <p:txBody>
          <a:bodyPr lIns="0" tIns="0" rIns="0" bIns="0" anchor="t" anchorCtr="0">
            <a:normAutofit/>
          </a:bodyPr>
          <a:lstStyle/>
          <a:p>
            <a:r>
              <a:rPr lang="es-PE" sz="4800" dirty="0">
                <a:solidFill>
                  <a:srgbClr val="0070C0"/>
                </a:solidFill>
              </a:rPr>
              <a:t>Actividades</a:t>
            </a:r>
            <a:r>
              <a:rPr lang="en-US" sz="4800" dirty="0">
                <a:solidFill>
                  <a:srgbClr val="0070C0"/>
                </a:solidFill>
              </a:rPr>
              <a:t> (Luis Vasquez)</a:t>
            </a:r>
          </a:p>
        </p:txBody>
      </p:sp>
    </p:spTree>
    <p:extLst>
      <p:ext uri="{BB962C8B-B14F-4D97-AF65-F5344CB8AC3E}">
        <p14:creationId xmlns:p14="http://schemas.microsoft.com/office/powerpoint/2010/main" val="13919200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7F7F7F"/>
      </a:dk1>
      <a:lt1>
        <a:srgbClr val="FFFFFF"/>
      </a:lt1>
      <a:dk2>
        <a:srgbClr val="A7A7A7"/>
      </a:dk2>
      <a:lt2>
        <a:srgbClr val="535353"/>
      </a:lt2>
      <a:accent1>
        <a:srgbClr val="005CDC"/>
      </a:accent1>
      <a:accent2>
        <a:srgbClr val="1A1D1F"/>
      </a:accent2>
      <a:accent3>
        <a:srgbClr val="313432"/>
      </a:accent3>
      <a:accent4>
        <a:srgbClr val="434545"/>
      </a:accent4>
      <a:accent5>
        <a:srgbClr val="FEFFFE"/>
      </a:accent5>
      <a:accent6>
        <a:srgbClr val="91969B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Montserrat Light"/>
        <a:ea typeface="Montserrat Light"/>
        <a:cs typeface="Montserrat Light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hueOff val="-7200000"/>
            <a:satOff val="-100001"/>
          </a:schemeClr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828433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7F7F7F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1828433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7F7F7F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5CDC"/>
      </a:accent1>
      <a:accent2>
        <a:srgbClr val="1A1D1F"/>
      </a:accent2>
      <a:accent3>
        <a:srgbClr val="313432"/>
      </a:accent3>
      <a:accent4>
        <a:srgbClr val="434545"/>
      </a:accent4>
      <a:accent5>
        <a:srgbClr val="FEFFFE"/>
      </a:accent5>
      <a:accent6>
        <a:srgbClr val="91969B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Montserrat Light"/>
        <a:ea typeface="Montserrat Light"/>
        <a:cs typeface="Montserrat Light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hueOff val="-7200000"/>
            <a:satOff val="-100001"/>
          </a:schemeClr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828433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7F7F7F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1828433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7F7F7F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B426F40F2345E498BAEE12C9EA20781" ma:contentTypeVersion="13" ma:contentTypeDescription="Crear nuevo documento." ma:contentTypeScope="" ma:versionID="4c7ed64e60810f7e949774c75c459005">
  <xsd:schema xmlns:xsd="http://www.w3.org/2001/XMLSchema" xmlns:xs="http://www.w3.org/2001/XMLSchema" xmlns:p="http://schemas.microsoft.com/office/2006/metadata/properties" xmlns:ns3="8d685f23-56b1-4d52-93a1-44e735e1215d" xmlns:ns4="a45060e1-4b97-4f80-9fbe-c1e90595a4e0" targetNamespace="http://schemas.microsoft.com/office/2006/metadata/properties" ma:root="true" ma:fieldsID="33e49f7be35482f3123e3f1f13587850" ns3:_="" ns4:_="">
    <xsd:import namespace="8d685f23-56b1-4d52-93a1-44e735e1215d"/>
    <xsd:import namespace="a45060e1-4b97-4f80-9fbe-c1e90595a4e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685f23-56b1-4d52-93a1-44e735e121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5060e1-4b97-4f80-9fbe-c1e90595a4e0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E72E49E-F244-4F92-A454-D85D250E14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685f23-56b1-4d52-93a1-44e735e1215d"/>
    <ds:schemaRef ds:uri="a45060e1-4b97-4f80-9fbe-c1e90595a4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00EC99-23B8-4127-B637-2AAD6B33D629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terms/"/>
    <ds:schemaRef ds:uri="8d685f23-56b1-4d52-93a1-44e735e1215d"/>
    <ds:schemaRef ds:uri="http://schemas.openxmlformats.org/package/2006/metadata/core-properties"/>
    <ds:schemaRef ds:uri="a45060e1-4b97-4f80-9fbe-c1e90595a4e0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C8137AC-0DAD-40F2-AA21-0C3E5B4862C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23</TotalTime>
  <Words>1423</Words>
  <Application>Microsoft Office PowerPoint</Application>
  <PresentationFormat>Personalizado</PresentationFormat>
  <Paragraphs>477</Paragraphs>
  <Slides>21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22" baseType="lpstr">
      <vt:lpstr>Office Theme</vt:lpstr>
      <vt:lpstr>Presentación de PowerPoint</vt:lpstr>
      <vt:lpstr>Organigrama</vt:lpstr>
      <vt:lpstr>Proyectos</vt:lpstr>
      <vt:lpstr>Comite Capeco</vt:lpstr>
      <vt:lpstr>Actividades (Carmen  y Pamela)</vt:lpstr>
      <vt:lpstr>Comité Intelica</vt:lpstr>
      <vt:lpstr>Actividades (David y Silvestre)</vt:lpstr>
      <vt:lpstr>Comité Mined</vt:lpstr>
      <vt:lpstr>Actividades (Luis Vasquez)</vt:lpstr>
      <vt:lpstr>Comité Sipan y UPC</vt:lpstr>
      <vt:lpstr>Actividades (Silvestre Acosta)</vt:lpstr>
      <vt:lpstr>Comité UCV y USIL</vt:lpstr>
      <vt:lpstr>Actividades (Silvestre Acosta)</vt:lpstr>
      <vt:lpstr>Agenda</vt:lpstr>
      <vt:lpstr>Equipo Desarrollo Marzo</vt:lpstr>
      <vt:lpstr>Equipo Desarrollo Julio</vt:lpstr>
      <vt:lpstr>Equipo Desarrollo Soporte Julio </vt:lpstr>
      <vt:lpstr>Presentación de PowerPoint</vt:lpstr>
      <vt:lpstr>Equipo Desarrollo Soporte Julio</vt:lpstr>
      <vt:lpstr>Equipo Analytics Junio</vt:lpstr>
      <vt:lpstr>Equipo Educa Junio</vt:lpstr>
    </vt:vector>
  </TitlesOfParts>
  <Manager>You Exec (https://youexec.com)</Manager>
  <Company>You Exec (https://youexec.com)</Company>
  <LinksUpToDate>false</LinksUpToDate>
  <SharedDoc>false</SharedDoc>
  <HyperlinkBase>https://youexec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llennial V SAC</dc:title>
  <dc:subject>You Exec (https://youexec.com)</dc:subject>
  <dc:creator>You Exec (https://youexec.com);Millennial V SAC</dc:creator>
  <cp:keywords>Millennial V SAC</cp:keywords>
  <dc:description>You Exec (https://youexec.com)</dc:description>
  <cp:lastModifiedBy>Carlos Vera</cp:lastModifiedBy>
  <cp:revision>504</cp:revision>
  <dcterms:modified xsi:type="dcterms:W3CDTF">2022-07-01T23:40:23Z</dcterms:modified>
  <cp:category>Millennial V SAC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426F40F2345E498BAEE12C9EA20781</vt:lpwstr>
  </property>
</Properties>
</file>